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2.xml" ContentType="application/vnd.openxmlformats-officedocument.them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3.xml" ContentType="application/vnd.openxmlformats-officedocument.theme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278.xml" ContentType="application/vnd.openxmlformats-officedocument.presentationml.tags+xml"/>
  <Override PartName="/ppt/notesSlides/notesSlide1.xml" ContentType="application/vnd.openxmlformats-officedocument.presentationml.notesSlide+xml"/>
  <Override PartName="/ppt/tags/tag279.xml" ContentType="application/vnd.openxmlformats-officedocument.presentationml.tags+xml"/>
  <Override PartName="/ppt/notesSlides/notesSlide2.xml" ContentType="application/vnd.openxmlformats-officedocument.presentationml.notesSlide+xml"/>
  <Override PartName="/ppt/tags/tag280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69" r:id="rId1"/>
    <p:sldMasterId id="2147483999" r:id="rId2"/>
    <p:sldMasterId id="2147484048" r:id="rId3"/>
  </p:sldMasterIdLst>
  <p:notesMasterIdLst>
    <p:notesMasterId r:id="rId14"/>
  </p:notesMasterIdLst>
  <p:handoutMasterIdLst>
    <p:handoutMasterId r:id="rId15"/>
  </p:handoutMasterIdLst>
  <p:sldIdLst>
    <p:sldId id="2134805397" r:id="rId4"/>
    <p:sldId id="2134805398" r:id="rId5"/>
    <p:sldId id="2134805403" r:id="rId6"/>
    <p:sldId id="2134805404" r:id="rId7"/>
    <p:sldId id="2134805414" r:id="rId8"/>
    <p:sldId id="2134805399" r:id="rId9"/>
    <p:sldId id="2134805405" r:id="rId10"/>
    <p:sldId id="2134805411" r:id="rId11"/>
    <p:sldId id="2134805412" r:id="rId12"/>
    <p:sldId id="2134805415" r:id="rId13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75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39200"/>
    <a:srgbClr val="FF6900"/>
    <a:srgbClr val="B38E59"/>
    <a:srgbClr val="FF00FF"/>
    <a:srgbClr val="FF66FF"/>
    <a:srgbClr val="FD9002"/>
    <a:srgbClr val="FA4481"/>
    <a:srgbClr val="1DE9FF"/>
    <a:srgbClr val="66FFFF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031" autoAdjust="0"/>
    <p:restoredTop sz="91433" autoAdjust="0"/>
  </p:normalViewPr>
  <p:slideViewPr>
    <p:cSldViewPr snapToGrid="0" snapToObjects="1" showGuides="1">
      <p:cViewPr varScale="1">
        <p:scale>
          <a:sx n="115" d="100"/>
          <a:sy n="115" d="100"/>
        </p:scale>
        <p:origin x="67" y="67"/>
      </p:cViewPr>
      <p:guideLst>
        <p:guide pos="3840"/>
        <p:guide orient="horz" pos="75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0" d="100"/>
        <a:sy n="70" d="100"/>
      </p:scale>
      <p:origin x="0" y="-26856"/>
    </p:cViewPr>
  </p:sorterViewPr>
  <p:notesViewPr>
    <p:cSldViewPr snapToGrid="0" snapToObjects="1" showGuides="1">
      <p:cViewPr varScale="1">
        <p:scale>
          <a:sx n="81" d="100"/>
          <a:sy n="81" d="100"/>
        </p:scale>
        <p:origin x="2966" y="6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CF277B-2B2D-4A52-B764-A8BFFF7C72B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32E7C71-92C2-4C65-AAC5-13B8C473ACE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E2FDDD-A1D4-4177-8444-E5221BE49A25}" type="datetimeFigureOut">
              <a:rPr lang="en-GB" smtClean="0"/>
              <a:t>23/01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C1B936A-9456-497F-896D-EB0A744901C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EB13B5-DFF6-40A2-9CA0-1CF501D0D03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B772725-DA1C-4D30-B10A-574656A6150F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57653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B80376-9849-0641-980F-B64B5DF60C01}" type="datetimeFigureOut">
              <a:rPr lang="de-DE" smtClean="0"/>
              <a:t>23.01.2023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9F2F47-17B9-B440-9B67-93B9C4BEB082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39625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24784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574849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34009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4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4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208.xml"/><Relationship Id="rId7" Type="http://schemas.openxmlformats.org/officeDocument/2006/relationships/image" Target="../media/image4.emf"/><Relationship Id="rId2" Type="http://schemas.openxmlformats.org/officeDocument/2006/relationships/tags" Target="../tags/tag207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1.bin"/><Relationship Id="rId4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210.xml"/><Relationship Id="rId7" Type="http://schemas.openxmlformats.org/officeDocument/2006/relationships/image" Target="../media/image4.emf"/><Relationship Id="rId2" Type="http://schemas.openxmlformats.org/officeDocument/2006/relationships/tags" Target="../tags/tag209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2.bin"/><Relationship Id="rId4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1.xml"/><Relationship Id="rId1" Type="http://schemas.openxmlformats.org/officeDocument/2006/relationships/vmlDrawing" Target="../drawings/vmlDrawing10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3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2.xml"/><Relationship Id="rId1" Type="http://schemas.openxmlformats.org/officeDocument/2006/relationships/vmlDrawing" Target="../drawings/vmlDrawing10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4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tags" Target="../tags/tag214.xml"/><Relationship Id="rId2" Type="http://schemas.openxmlformats.org/officeDocument/2006/relationships/tags" Target="../tags/tag213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5.bin"/><Relationship Id="rId4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216.xml"/><Relationship Id="rId2" Type="http://schemas.openxmlformats.org/officeDocument/2006/relationships/tags" Target="../tags/tag215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6.bin"/><Relationship Id="rId4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tags" Target="../tags/tag218.xml"/><Relationship Id="rId2" Type="http://schemas.openxmlformats.org/officeDocument/2006/relationships/tags" Target="../tags/tag217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7.bin"/><Relationship Id="rId4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tags" Target="../tags/tag220.xml"/><Relationship Id="rId2" Type="http://schemas.openxmlformats.org/officeDocument/2006/relationships/tags" Target="../tags/tag219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8.bin"/><Relationship Id="rId4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tags" Target="../tags/tag222.xml"/><Relationship Id="rId2" Type="http://schemas.openxmlformats.org/officeDocument/2006/relationships/tags" Target="../tags/tag221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9.bin"/><Relationship Id="rId4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tags" Target="../tags/tag224.xml"/><Relationship Id="rId2" Type="http://schemas.openxmlformats.org/officeDocument/2006/relationships/tags" Target="../tags/tag223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0.bin"/><Relationship Id="rId4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4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tags" Target="../tags/tag226.xml"/><Relationship Id="rId2" Type="http://schemas.openxmlformats.org/officeDocument/2006/relationships/tags" Target="../tags/tag225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1.bin"/><Relationship Id="rId4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tags" Target="../tags/tag228.xml"/><Relationship Id="rId2" Type="http://schemas.openxmlformats.org/officeDocument/2006/relationships/tags" Target="../tags/tag227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2.bin"/><Relationship Id="rId4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tags" Target="../tags/tag230.xml"/><Relationship Id="rId2" Type="http://schemas.openxmlformats.org/officeDocument/2006/relationships/tags" Target="../tags/tag229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3.bin"/><Relationship Id="rId4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tags" Target="../tags/tag232.xml"/><Relationship Id="rId2" Type="http://schemas.openxmlformats.org/officeDocument/2006/relationships/tags" Target="../tags/tag231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4.bin"/><Relationship Id="rId4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tags" Target="../tags/tag234.xml"/><Relationship Id="rId2" Type="http://schemas.openxmlformats.org/officeDocument/2006/relationships/tags" Target="../tags/tag233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5.bin"/><Relationship Id="rId4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tags" Target="../tags/tag236.xml"/><Relationship Id="rId2" Type="http://schemas.openxmlformats.org/officeDocument/2006/relationships/tags" Target="../tags/tag235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6.bin"/><Relationship Id="rId4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tags" Target="../tags/tag238.xml"/><Relationship Id="rId2" Type="http://schemas.openxmlformats.org/officeDocument/2006/relationships/tags" Target="../tags/tag237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7.bin"/><Relationship Id="rId4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tags" Target="../tags/tag240.xml"/><Relationship Id="rId2" Type="http://schemas.openxmlformats.org/officeDocument/2006/relationships/tags" Target="../tags/tag239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8.bin"/><Relationship Id="rId4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tags" Target="../tags/tag242.xml"/><Relationship Id="rId2" Type="http://schemas.openxmlformats.org/officeDocument/2006/relationships/tags" Target="../tags/tag241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9.bin"/><Relationship Id="rId4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tags" Target="../tags/tag244.xml"/><Relationship Id="rId2" Type="http://schemas.openxmlformats.org/officeDocument/2006/relationships/tags" Target="../tags/tag243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0.bin"/><Relationship Id="rId4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246.xml"/><Relationship Id="rId7" Type="http://schemas.openxmlformats.org/officeDocument/2006/relationships/image" Target="../media/image8.png"/><Relationship Id="rId2" Type="http://schemas.openxmlformats.org/officeDocument/2006/relationships/tags" Target="../tags/tag245.xml"/><Relationship Id="rId1" Type="http://schemas.openxmlformats.org/officeDocument/2006/relationships/vmlDrawing" Target="../drawings/vmlDrawing12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1.bin"/><Relationship Id="rId4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248.xml"/><Relationship Id="rId7" Type="http://schemas.openxmlformats.org/officeDocument/2006/relationships/image" Target="../media/image8.png"/><Relationship Id="rId2" Type="http://schemas.openxmlformats.org/officeDocument/2006/relationships/tags" Target="../tags/tag247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2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9.png"/></Relationships>
</file>

<file path=ppt/slideLayouts/_rels/slideLayout1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250.xml"/><Relationship Id="rId7" Type="http://schemas.openxmlformats.org/officeDocument/2006/relationships/image" Target="../media/image8.png"/><Relationship Id="rId2" Type="http://schemas.openxmlformats.org/officeDocument/2006/relationships/tags" Target="../tags/tag249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3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1.png"/></Relationships>
</file>

<file path=ppt/slideLayouts/_rels/slideLayout1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252.xml"/><Relationship Id="rId7" Type="http://schemas.openxmlformats.org/officeDocument/2006/relationships/image" Target="../media/image8.png"/><Relationship Id="rId2" Type="http://schemas.openxmlformats.org/officeDocument/2006/relationships/tags" Target="../tags/tag251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4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2.png"/></Relationships>
</file>

<file path=ppt/slideLayouts/_rels/slideLayout1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54.xml"/><Relationship Id="rId7" Type="http://schemas.openxmlformats.org/officeDocument/2006/relationships/image" Target="../media/image3.emf"/><Relationship Id="rId2" Type="http://schemas.openxmlformats.org/officeDocument/2006/relationships/tags" Target="../tags/tag253.xml"/><Relationship Id="rId1" Type="http://schemas.openxmlformats.org/officeDocument/2006/relationships/vmlDrawing" Target="../drawings/vmlDrawing125.vml"/><Relationship Id="rId6" Type="http://schemas.openxmlformats.org/officeDocument/2006/relationships/oleObject" Target="../embeddings/oleObject125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55.xml"/><Relationship Id="rId9" Type="http://schemas.openxmlformats.org/officeDocument/2006/relationships/image" Target="../media/image9.png"/></Relationships>
</file>

<file path=ppt/slideLayouts/_rels/slideLayout1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57.xml"/><Relationship Id="rId7" Type="http://schemas.openxmlformats.org/officeDocument/2006/relationships/image" Target="../media/image3.emf"/><Relationship Id="rId2" Type="http://schemas.openxmlformats.org/officeDocument/2006/relationships/tags" Target="../tags/tag256.xml"/><Relationship Id="rId1" Type="http://schemas.openxmlformats.org/officeDocument/2006/relationships/vmlDrawing" Target="../drawings/vmlDrawing126.vml"/><Relationship Id="rId6" Type="http://schemas.openxmlformats.org/officeDocument/2006/relationships/oleObject" Target="../embeddings/oleObject126.bin"/><Relationship Id="rId5" Type="http://schemas.openxmlformats.org/officeDocument/2006/relationships/slideMaster" Target="../slideMasters/slideMaster3.xml"/><Relationship Id="rId10" Type="http://schemas.openxmlformats.org/officeDocument/2006/relationships/image" Target="../media/image11.png"/><Relationship Id="rId4" Type="http://schemas.openxmlformats.org/officeDocument/2006/relationships/tags" Target="../tags/tag258.xml"/><Relationship Id="rId9" Type="http://schemas.openxmlformats.org/officeDocument/2006/relationships/image" Target="../media/image9.png"/></Relationships>
</file>

<file path=ppt/slideLayouts/_rels/slideLayout1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60.xml"/><Relationship Id="rId7" Type="http://schemas.openxmlformats.org/officeDocument/2006/relationships/image" Target="../media/image3.emf"/><Relationship Id="rId2" Type="http://schemas.openxmlformats.org/officeDocument/2006/relationships/tags" Target="../tags/tag259.xml"/><Relationship Id="rId1" Type="http://schemas.openxmlformats.org/officeDocument/2006/relationships/vmlDrawing" Target="../drawings/vmlDrawing127.vml"/><Relationship Id="rId6" Type="http://schemas.openxmlformats.org/officeDocument/2006/relationships/oleObject" Target="../embeddings/oleObject127.bin"/><Relationship Id="rId5" Type="http://schemas.openxmlformats.org/officeDocument/2006/relationships/slideMaster" Target="../slideMasters/slideMaster3.xml"/><Relationship Id="rId10" Type="http://schemas.openxmlformats.org/officeDocument/2006/relationships/image" Target="../media/image12.png"/><Relationship Id="rId4" Type="http://schemas.openxmlformats.org/officeDocument/2006/relationships/tags" Target="../tags/tag261.xml"/><Relationship Id="rId9" Type="http://schemas.openxmlformats.org/officeDocument/2006/relationships/image" Target="../media/image9.png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tags" Target="../tags/tag263.xml"/><Relationship Id="rId2" Type="http://schemas.openxmlformats.org/officeDocument/2006/relationships/tags" Target="../tags/tag262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8.bin"/><Relationship Id="rId4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tags" Target="../tags/tag265.xml"/><Relationship Id="rId2" Type="http://schemas.openxmlformats.org/officeDocument/2006/relationships/tags" Target="../tags/tag264.xml"/><Relationship Id="rId1" Type="http://schemas.openxmlformats.org/officeDocument/2006/relationships/vmlDrawing" Target="../drawings/vmlDrawing12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tags" Target="../tags/tag267.xml"/><Relationship Id="rId7" Type="http://schemas.openxmlformats.org/officeDocument/2006/relationships/image" Target="../media/image2.png"/><Relationship Id="rId2" Type="http://schemas.openxmlformats.org/officeDocument/2006/relationships/tags" Target="../tags/tag266.xml"/><Relationship Id="rId1" Type="http://schemas.openxmlformats.org/officeDocument/2006/relationships/vmlDrawing" Target="../drawings/vmlDrawing13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0.bin"/><Relationship Id="rId4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tags" Target="../tags/tag269.xml"/><Relationship Id="rId7" Type="http://schemas.openxmlformats.org/officeDocument/2006/relationships/image" Target="../media/image8.png"/><Relationship Id="rId2" Type="http://schemas.openxmlformats.org/officeDocument/2006/relationships/tags" Target="../tags/tag268.xml"/><Relationship Id="rId1" Type="http://schemas.openxmlformats.org/officeDocument/2006/relationships/vmlDrawing" Target="../drawings/vmlDrawing13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1.bin"/><Relationship Id="rId4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tags" Target="../tags/tag271.xml"/><Relationship Id="rId7" Type="http://schemas.openxmlformats.org/officeDocument/2006/relationships/image" Target="../media/image8.png"/><Relationship Id="rId2" Type="http://schemas.openxmlformats.org/officeDocument/2006/relationships/tags" Target="../tags/tag270.xml"/><Relationship Id="rId1" Type="http://schemas.openxmlformats.org/officeDocument/2006/relationships/vmlDrawing" Target="../drawings/vmlDrawing13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2.bin"/><Relationship Id="rId4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tags" Target="../tags/tag273.xml"/><Relationship Id="rId2" Type="http://schemas.openxmlformats.org/officeDocument/2006/relationships/tags" Target="../tags/tag272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3.bin"/><Relationship Id="rId4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75.xml"/><Relationship Id="rId7" Type="http://schemas.openxmlformats.org/officeDocument/2006/relationships/image" Target="../media/image13.jpeg"/><Relationship Id="rId2" Type="http://schemas.openxmlformats.org/officeDocument/2006/relationships/tags" Target="../tags/tag274.xml"/><Relationship Id="rId1" Type="http://schemas.openxmlformats.org/officeDocument/2006/relationships/vmlDrawing" Target="../drawings/vmlDrawing13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4.bin"/><Relationship Id="rId4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tags" Target="../tags/tag277.xml"/><Relationship Id="rId7" Type="http://schemas.openxmlformats.org/officeDocument/2006/relationships/image" Target="../media/image4.emf"/><Relationship Id="rId2" Type="http://schemas.openxmlformats.org/officeDocument/2006/relationships/tags" Target="../tags/tag276.xml"/><Relationship Id="rId1" Type="http://schemas.openxmlformats.org/officeDocument/2006/relationships/vmlDrawing" Target="../drawings/vmlDrawing13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5.bin"/><Relationship Id="rId4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4.emf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0.xml"/><Relationship Id="rId7" Type="http://schemas.openxmlformats.org/officeDocument/2006/relationships/image" Target="../media/image5.pn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62.xml"/><Relationship Id="rId7" Type="http://schemas.openxmlformats.org/officeDocument/2006/relationships/image" Target="../media/image8.png"/><Relationship Id="rId2" Type="http://schemas.openxmlformats.org/officeDocument/2006/relationships/tags" Target="../tags/tag61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64.xml"/><Relationship Id="rId7" Type="http://schemas.openxmlformats.org/officeDocument/2006/relationships/image" Target="../media/image8.png"/><Relationship Id="rId2" Type="http://schemas.openxmlformats.org/officeDocument/2006/relationships/tags" Target="../tags/tag6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9.png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66.xml"/><Relationship Id="rId7" Type="http://schemas.openxmlformats.org/officeDocument/2006/relationships/image" Target="../media/image8.png"/><Relationship Id="rId2" Type="http://schemas.openxmlformats.org/officeDocument/2006/relationships/tags" Target="../tags/tag65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1.png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68.xml"/><Relationship Id="rId7" Type="http://schemas.openxmlformats.org/officeDocument/2006/relationships/image" Target="../media/image8.png"/><Relationship Id="rId2" Type="http://schemas.openxmlformats.org/officeDocument/2006/relationships/tags" Target="../tags/tag67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2.png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70.xml"/><Relationship Id="rId7" Type="http://schemas.openxmlformats.org/officeDocument/2006/relationships/image" Target="../media/image3.emf"/><Relationship Id="rId2" Type="http://schemas.openxmlformats.org/officeDocument/2006/relationships/tags" Target="../tags/tag69.xml"/><Relationship Id="rId1" Type="http://schemas.openxmlformats.org/officeDocument/2006/relationships/vmlDrawing" Target="../drawings/vmlDrawing35.vml"/><Relationship Id="rId6" Type="http://schemas.openxmlformats.org/officeDocument/2006/relationships/oleObject" Target="../embeddings/oleObject3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1.xml"/><Relationship Id="rId9" Type="http://schemas.openxmlformats.org/officeDocument/2006/relationships/image" Target="../media/image9.png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73.xml"/><Relationship Id="rId7" Type="http://schemas.openxmlformats.org/officeDocument/2006/relationships/image" Target="../media/image3.emf"/><Relationship Id="rId2" Type="http://schemas.openxmlformats.org/officeDocument/2006/relationships/tags" Target="../tags/tag72.xml"/><Relationship Id="rId1" Type="http://schemas.openxmlformats.org/officeDocument/2006/relationships/vmlDrawing" Target="../drawings/vmlDrawing36.vml"/><Relationship Id="rId6" Type="http://schemas.openxmlformats.org/officeDocument/2006/relationships/oleObject" Target="../embeddings/oleObject36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11.png"/><Relationship Id="rId4" Type="http://schemas.openxmlformats.org/officeDocument/2006/relationships/tags" Target="../tags/tag74.xml"/><Relationship Id="rId9" Type="http://schemas.openxmlformats.org/officeDocument/2006/relationships/image" Target="../media/image9.png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76.xml"/><Relationship Id="rId7" Type="http://schemas.openxmlformats.org/officeDocument/2006/relationships/image" Target="../media/image3.emf"/><Relationship Id="rId2" Type="http://schemas.openxmlformats.org/officeDocument/2006/relationships/tags" Target="../tags/tag75.xml"/><Relationship Id="rId1" Type="http://schemas.openxmlformats.org/officeDocument/2006/relationships/vmlDrawing" Target="../drawings/vmlDrawing37.vml"/><Relationship Id="rId6" Type="http://schemas.openxmlformats.org/officeDocument/2006/relationships/oleObject" Target="../embeddings/oleObject37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12.png"/><Relationship Id="rId4" Type="http://schemas.openxmlformats.org/officeDocument/2006/relationships/tags" Target="../tags/tag77.xml"/><Relationship Id="rId9" Type="http://schemas.openxmlformats.org/officeDocument/2006/relationships/image" Target="../media/image9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image" Target="../media/image2.png"/><Relationship Id="rId2" Type="http://schemas.openxmlformats.org/officeDocument/2006/relationships/tags" Target="../tags/tag82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4.emf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7" Type="http://schemas.openxmlformats.org/officeDocument/2006/relationships/image" Target="../media/image8.png"/><Relationship Id="rId2" Type="http://schemas.openxmlformats.org/officeDocument/2006/relationships/tags" Target="../tags/tag84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image" Target="../media/image8.png"/><Relationship Id="rId2" Type="http://schemas.openxmlformats.org/officeDocument/2006/relationships/tags" Target="../tags/tag86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91.xml"/><Relationship Id="rId7" Type="http://schemas.openxmlformats.org/officeDocument/2006/relationships/image" Target="../media/image13.jpeg"/><Relationship Id="rId2" Type="http://schemas.openxmlformats.org/officeDocument/2006/relationships/tags" Target="../tags/tag90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7" Type="http://schemas.openxmlformats.org/officeDocument/2006/relationships/image" Target="../media/image4.emf"/><Relationship Id="rId2" Type="http://schemas.openxmlformats.org/officeDocument/2006/relationships/tags" Target="../tags/tag92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7" Type="http://schemas.openxmlformats.org/officeDocument/2006/relationships/image" Target="../media/image4.emf"/><Relationship Id="rId2" Type="http://schemas.openxmlformats.org/officeDocument/2006/relationships/tags" Target="../tags/tag97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image" Target="../media/image4.emf"/><Relationship Id="rId2" Type="http://schemas.openxmlformats.org/officeDocument/2006/relationships/tags" Target="../tags/tag9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02.xml"/><Relationship Id="rId7" Type="http://schemas.openxmlformats.org/officeDocument/2006/relationships/image" Target="../media/image14.png"/><Relationship Id="rId2" Type="http://schemas.openxmlformats.org/officeDocument/2006/relationships/tags" Target="../tags/tag101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7" Type="http://schemas.openxmlformats.org/officeDocument/2006/relationships/image" Target="../media/image4.emf"/><Relationship Id="rId2" Type="http://schemas.openxmlformats.org/officeDocument/2006/relationships/tags" Target="../tags/tag103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7" Type="http://schemas.openxmlformats.org/officeDocument/2006/relationships/image" Target="../media/image4.emf"/><Relationship Id="rId2" Type="http://schemas.openxmlformats.org/officeDocument/2006/relationships/tags" Target="../tags/tag105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4.emf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7" Type="http://schemas.openxmlformats.org/officeDocument/2006/relationships/image" Target="../media/image3.emf"/><Relationship Id="rId2" Type="http://schemas.openxmlformats.org/officeDocument/2006/relationships/tags" Target="../tags/tag107.xml"/><Relationship Id="rId1" Type="http://schemas.openxmlformats.org/officeDocument/2006/relationships/vmlDrawing" Target="../drawings/vmlDrawing52.vml"/><Relationship Id="rId6" Type="http://schemas.openxmlformats.org/officeDocument/2006/relationships/oleObject" Target="../embeddings/oleObject52.bin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7" Type="http://schemas.openxmlformats.org/officeDocument/2006/relationships/image" Target="../media/image4.emf"/><Relationship Id="rId2" Type="http://schemas.openxmlformats.org/officeDocument/2006/relationships/tags" Target="../tags/tag109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7" Type="http://schemas.openxmlformats.org/officeDocument/2006/relationships/image" Target="../media/image4.emf"/><Relationship Id="rId2" Type="http://schemas.openxmlformats.org/officeDocument/2006/relationships/tags" Target="../tags/tag111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116.xml"/><Relationship Id="rId7" Type="http://schemas.openxmlformats.org/officeDocument/2006/relationships/image" Target="../media/image4.emf"/><Relationship Id="rId2" Type="http://schemas.openxmlformats.org/officeDocument/2006/relationships/tags" Target="../tags/tag115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7" Type="http://schemas.openxmlformats.org/officeDocument/2006/relationships/image" Target="../media/image4.emf"/><Relationship Id="rId2" Type="http://schemas.openxmlformats.org/officeDocument/2006/relationships/tags" Target="../tags/tag117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8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9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124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6.xml"/><Relationship Id="rId7" Type="http://schemas.openxmlformats.org/officeDocument/2006/relationships/image" Target="../media/image3.emf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128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3.bin"/><Relationship Id="rId4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32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6.bin"/><Relationship Id="rId4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136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7.bin"/><Relationship Id="rId4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8.bin"/><Relationship Id="rId4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140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9.bin"/><Relationship Id="rId4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0.bin"/><Relationship Id="rId4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144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1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4.emf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146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2.bin"/><Relationship Id="rId4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148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3.bin"/><Relationship Id="rId4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150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4.bin"/><Relationship Id="rId4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2" Type="http://schemas.openxmlformats.org/officeDocument/2006/relationships/tags" Target="../tags/tag151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5.bin"/><Relationship Id="rId4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54.xml"/><Relationship Id="rId7" Type="http://schemas.openxmlformats.org/officeDocument/2006/relationships/image" Target="../media/image8.png"/><Relationship Id="rId2" Type="http://schemas.openxmlformats.org/officeDocument/2006/relationships/tags" Target="../tags/tag153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56.xml"/><Relationship Id="rId7" Type="http://schemas.openxmlformats.org/officeDocument/2006/relationships/image" Target="../media/image8.png"/><Relationship Id="rId2" Type="http://schemas.openxmlformats.org/officeDocument/2006/relationships/tags" Target="../tags/tag155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7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9.png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58.xml"/><Relationship Id="rId7" Type="http://schemas.openxmlformats.org/officeDocument/2006/relationships/image" Target="../media/image8.png"/><Relationship Id="rId2" Type="http://schemas.openxmlformats.org/officeDocument/2006/relationships/tags" Target="../tags/tag157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8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1.png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60.xml"/><Relationship Id="rId7" Type="http://schemas.openxmlformats.org/officeDocument/2006/relationships/image" Target="../media/image8.png"/><Relationship Id="rId2" Type="http://schemas.openxmlformats.org/officeDocument/2006/relationships/tags" Target="../tags/tag159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9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2.png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62.xml"/><Relationship Id="rId7" Type="http://schemas.openxmlformats.org/officeDocument/2006/relationships/image" Target="../media/image3.emf"/><Relationship Id="rId2" Type="http://schemas.openxmlformats.org/officeDocument/2006/relationships/tags" Target="../tags/tag161.xml"/><Relationship Id="rId1" Type="http://schemas.openxmlformats.org/officeDocument/2006/relationships/vmlDrawing" Target="../drawings/vmlDrawing80.vml"/><Relationship Id="rId6" Type="http://schemas.openxmlformats.org/officeDocument/2006/relationships/oleObject" Target="../embeddings/oleObject8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63.xml"/><Relationship Id="rId9" Type="http://schemas.openxmlformats.org/officeDocument/2006/relationships/image" Target="../media/image9.png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65.xml"/><Relationship Id="rId7" Type="http://schemas.openxmlformats.org/officeDocument/2006/relationships/image" Target="../media/image3.emf"/><Relationship Id="rId2" Type="http://schemas.openxmlformats.org/officeDocument/2006/relationships/tags" Target="../tags/tag164.xml"/><Relationship Id="rId1" Type="http://schemas.openxmlformats.org/officeDocument/2006/relationships/vmlDrawing" Target="../drawings/vmlDrawing81.vml"/><Relationship Id="rId6" Type="http://schemas.openxmlformats.org/officeDocument/2006/relationships/oleObject" Target="../embeddings/oleObject81.bin"/><Relationship Id="rId5" Type="http://schemas.openxmlformats.org/officeDocument/2006/relationships/slideMaster" Target="../slideMasters/slideMaster2.xml"/><Relationship Id="rId10" Type="http://schemas.openxmlformats.org/officeDocument/2006/relationships/image" Target="../media/image11.png"/><Relationship Id="rId4" Type="http://schemas.openxmlformats.org/officeDocument/2006/relationships/tags" Target="../tags/tag166.xml"/><Relationship Id="rId9" Type="http://schemas.openxmlformats.org/officeDocument/2006/relationships/image" Target="../media/image9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4.emf"/><Relationship Id="rId2" Type="http://schemas.openxmlformats.org/officeDocument/2006/relationships/tags" Target="../tags/tag1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68.xml"/><Relationship Id="rId7" Type="http://schemas.openxmlformats.org/officeDocument/2006/relationships/image" Target="../media/image3.emf"/><Relationship Id="rId2" Type="http://schemas.openxmlformats.org/officeDocument/2006/relationships/tags" Target="../tags/tag167.xml"/><Relationship Id="rId1" Type="http://schemas.openxmlformats.org/officeDocument/2006/relationships/vmlDrawing" Target="../drawings/vmlDrawing82.vml"/><Relationship Id="rId6" Type="http://schemas.openxmlformats.org/officeDocument/2006/relationships/oleObject" Target="../embeddings/oleObject82.bin"/><Relationship Id="rId5" Type="http://schemas.openxmlformats.org/officeDocument/2006/relationships/slideMaster" Target="../slideMasters/slideMaster2.xml"/><Relationship Id="rId10" Type="http://schemas.openxmlformats.org/officeDocument/2006/relationships/image" Target="../media/image12.png"/><Relationship Id="rId4" Type="http://schemas.openxmlformats.org/officeDocument/2006/relationships/tags" Target="../tags/tag169.xml"/><Relationship Id="rId9" Type="http://schemas.openxmlformats.org/officeDocument/2006/relationships/image" Target="../media/image9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3.bin"/><Relationship Id="rId4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173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4.bin"/><Relationship Id="rId4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tags" Target="../tags/tag175.xml"/><Relationship Id="rId7" Type="http://schemas.openxmlformats.org/officeDocument/2006/relationships/image" Target="../media/image2.png"/><Relationship Id="rId2" Type="http://schemas.openxmlformats.org/officeDocument/2006/relationships/tags" Target="../tags/tag174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5.bin"/><Relationship Id="rId4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tags" Target="../tags/tag177.xml"/><Relationship Id="rId7" Type="http://schemas.openxmlformats.org/officeDocument/2006/relationships/image" Target="../media/image8.png"/><Relationship Id="rId2" Type="http://schemas.openxmlformats.org/officeDocument/2006/relationships/tags" Target="../tags/tag176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6.bin"/><Relationship Id="rId4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tags" Target="../tags/tag179.xml"/><Relationship Id="rId7" Type="http://schemas.openxmlformats.org/officeDocument/2006/relationships/image" Target="../media/image8.png"/><Relationship Id="rId2" Type="http://schemas.openxmlformats.org/officeDocument/2006/relationships/tags" Target="../tags/tag178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7.bin"/><Relationship Id="rId4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8.bin"/><Relationship Id="rId4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83.xml"/><Relationship Id="rId7" Type="http://schemas.openxmlformats.org/officeDocument/2006/relationships/image" Target="../media/image13.jpeg"/><Relationship Id="rId2" Type="http://schemas.openxmlformats.org/officeDocument/2006/relationships/tags" Target="../tags/tag182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9.bin"/><Relationship Id="rId4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185.xml"/><Relationship Id="rId7" Type="http://schemas.openxmlformats.org/officeDocument/2006/relationships/image" Target="../media/image4.emf"/><Relationship Id="rId2" Type="http://schemas.openxmlformats.org/officeDocument/2006/relationships/tags" Target="../tags/tag184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0.bin"/><Relationship Id="rId4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7" Type="http://schemas.openxmlformats.org/officeDocument/2006/relationships/image" Target="../media/image4.emf"/><Relationship Id="rId2" Type="http://schemas.openxmlformats.org/officeDocument/2006/relationships/tags" Target="../tags/tag189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2.bin"/><Relationship Id="rId4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192.xml"/><Relationship Id="rId7" Type="http://schemas.openxmlformats.org/officeDocument/2006/relationships/image" Target="../media/image4.emf"/><Relationship Id="rId2" Type="http://schemas.openxmlformats.org/officeDocument/2006/relationships/tags" Target="../tags/tag191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3.bin"/><Relationship Id="rId4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94.xml"/><Relationship Id="rId7" Type="http://schemas.openxmlformats.org/officeDocument/2006/relationships/image" Target="../media/image14.png"/><Relationship Id="rId2" Type="http://schemas.openxmlformats.org/officeDocument/2006/relationships/tags" Target="../tags/tag193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4.bin"/><Relationship Id="rId4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196.xml"/><Relationship Id="rId7" Type="http://schemas.openxmlformats.org/officeDocument/2006/relationships/image" Target="../media/image4.emf"/><Relationship Id="rId2" Type="http://schemas.openxmlformats.org/officeDocument/2006/relationships/tags" Target="../tags/tag195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5.bin"/><Relationship Id="rId4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tags" Target="../tags/tag198.xml"/><Relationship Id="rId7" Type="http://schemas.openxmlformats.org/officeDocument/2006/relationships/image" Target="../media/image4.emf"/><Relationship Id="rId2" Type="http://schemas.openxmlformats.org/officeDocument/2006/relationships/tags" Target="../tags/tag197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6.bin"/><Relationship Id="rId4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00.xml"/><Relationship Id="rId7" Type="http://schemas.openxmlformats.org/officeDocument/2006/relationships/image" Target="../media/image3.emf"/><Relationship Id="rId2" Type="http://schemas.openxmlformats.org/officeDocument/2006/relationships/tags" Target="../tags/tag199.xml"/><Relationship Id="rId1" Type="http://schemas.openxmlformats.org/officeDocument/2006/relationships/vmlDrawing" Target="../drawings/vmlDrawing97.vml"/><Relationship Id="rId6" Type="http://schemas.openxmlformats.org/officeDocument/2006/relationships/oleObject" Target="../embeddings/oleObject97.bin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202.xml"/><Relationship Id="rId7" Type="http://schemas.openxmlformats.org/officeDocument/2006/relationships/image" Target="../media/image4.emf"/><Relationship Id="rId2" Type="http://schemas.openxmlformats.org/officeDocument/2006/relationships/tags" Target="../tags/tag201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8.bin"/><Relationship Id="rId4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204.xml"/><Relationship Id="rId7" Type="http://schemas.openxmlformats.org/officeDocument/2006/relationships/image" Target="../media/image4.emf"/><Relationship Id="rId2" Type="http://schemas.openxmlformats.org/officeDocument/2006/relationships/tags" Target="../tags/tag203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9.bin"/><Relationship Id="rId4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206.xml"/><Relationship Id="rId2" Type="http://schemas.openxmlformats.org/officeDocument/2006/relationships/tags" Target="../tags/tag205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0.bin"/><Relationship Id="rId4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CHWARZ links // Bildplatzhalt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7548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A7EB04B2-B630-41B2-AFB3-553D6397A80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222241" y="0"/>
            <a:ext cx="6969759" cy="6858000"/>
          </a:xfrm>
          <a:custGeom>
            <a:avLst/>
            <a:gdLst>
              <a:gd name="connsiteX0" fmla="*/ 0 w 6969759"/>
              <a:gd name="connsiteY0" fmla="*/ 0 h 6858000"/>
              <a:gd name="connsiteX1" fmla="*/ 6969759 w 6969759"/>
              <a:gd name="connsiteY1" fmla="*/ 0 h 6858000"/>
              <a:gd name="connsiteX2" fmla="*/ 6969759 w 6969759"/>
              <a:gd name="connsiteY2" fmla="*/ 6858000 h 6858000"/>
              <a:gd name="connsiteX3" fmla="*/ 508945 w 6969759"/>
              <a:gd name="connsiteY3" fmla="*/ 6858000 h 6858000"/>
              <a:gd name="connsiteX4" fmla="*/ 3706883 w 6969759"/>
              <a:gd name="connsiteY4" fmla="*/ 1 h 6858000"/>
              <a:gd name="connsiteX5" fmla="*/ 833898 w 6969759"/>
              <a:gd name="connsiteY5" fmla="*/ 1 h 6858000"/>
              <a:gd name="connsiteX6" fmla="*/ 833897 w 6969759"/>
              <a:gd name="connsiteY6" fmla="*/ 4 h 6858000"/>
              <a:gd name="connsiteX7" fmla="*/ 0 w 6969759"/>
              <a:gd name="connsiteY7" fmla="*/ 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69759" h="6858000">
                <a:moveTo>
                  <a:pt x="0" y="0"/>
                </a:moveTo>
                <a:lnTo>
                  <a:pt x="6969759" y="0"/>
                </a:lnTo>
                <a:lnTo>
                  <a:pt x="6969759" y="6858000"/>
                </a:lnTo>
                <a:lnTo>
                  <a:pt x="508945" y="6858000"/>
                </a:lnTo>
                <a:lnTo>
                  <a:pt x="3706883" y="1"/>
                </a:lnTo>
                <a:lnTo>
                  <a:pt x="833898" y="1"/>
                </a:lnTo>
                <a:lnTo>
                  <a:pt x="833897" y="4"/>
                </a:lnTo>
                <a:lnTo>
                  <a:pt x="0" y="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7" name="Freeform 20">
            <a:extLst>
              <a:ext uri="{FF2B5EF4-FFF2-40B4-BE49-F238E27FC236}">
                <a16:creationId xmlns:a16="http://schemas.microsoft.com/office/drawing/2014/main" id="{20143032-539B-475F-916F-D6751F8BCF55}"/>
              </a:ext>
            </a:extLst>
          </p:cNvPr>
          <p:cNvSpPr/>
          <p:nvPr userDrawn="1"/>
        </p:nvSpPr>
        <p:spPr>
          <a:xfrm>
            <a:off x="23446" y="4782085"/>
            <a:ext cx="2503570" cy="2075914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F7F2D2A-67E7-48AB-9757-E47BE416C04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973" y="5869536"/>
            <a:ext cx="3175725" cy="531882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2187806"/>
            <a:ext cx="6050183" cy="984885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32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6F3D174-89D1-411B-90BD-5D8D57671A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1" y="3652838"/>
            <a:ext cx="9212849" cy="738664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4889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 userDrawn="1">
          <p15:clr>
            <a:srgbClr val="F26B43"/>
          </p15:clr>
        </p15:guide>
        <p15:guide id="2" pos="483" userDrawn="1">
          <p15:clr>
            <a:srgbClr val="A4A3A4"/>
          </p15:clr>
        </p15:guide>
        <p15:guide id="3" orient="horz" pos="754" userDrawn="1">
          <p15:clr>
            <a:srgbClr val="A4A3A4"/>
          </p15:clr>
        </p15:guide>
        <p15:guide id="4" orient="horz" pos="640" userDrawn="1">
          <p15:clr>
            <a:srgbClr val="A4A3A4"/>
          </p15:clr>
        </p15:guide>
        <p15:guide id="5" orient="horz" pos="210" userDrawn="1">
          <p15:clr>
            <a:srgbClr val="A4A3A4"/>
          </p15:clr>
        </p15:guide>
        <p15:guide id="6" orient="horz" pos="4065" userDrawn="1">
          <p15:clr>
            <a:srgbClr val="A4A3A4"/>
          </p15:clr>
        </p15:guide>
        <p15:guide id="7" pos="7197" userDrawn="1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//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1044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32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82F7FFF-4C5B-4019-9384-D49F46D526EB}"/>
              </a:ext>
            </a:extLst>
          </p:cNvPr>
          <p:cNvGrpSpPr/>
          <p:nvPr/>
        </p:nvGrpSpPr>
        <p:grpSpPr>
          <a:xfrm>
            <a:off x="218788" y="4130611"/>
            <a:ext cx="11754424" cy="2396064"/>
            <a:chOff x="705451" y="5067472"/>
            <a:chExt cx="11671993" cy="2379260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8586F8AD-DF01-425F-82E1-C7B3B54D2332}"/>
                </a:ext>
              </a:extLst>
            </p:cNvPr>
            <p:cNvGrpSpPr/>
            <p:nvPr/>
          </p:nvGrpSpPr>
          <p:grpSpPr>
            <a:xfrm>
              <a:off x="705451" y="5067472"/>
              <a:ext cx="11671993" cy="2379260"/>
              <a:chOff x="833963" y="4724559"/>
              <a:chExt cx="13798285" cy="2812691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D9BEDEC5-A311-4772-8ED2-5EF31FB83501}"/>
                  </a:ext>
                </a:extLst>
              </p:cNvPr>
              <p:cNvSpPr/>
              <p:nvPr/>
            </p:nvSpPr>
            <p:spPr>
              <a:xfrm>
                <a:off x="833963" y="4724559"/>
                <a:ext cx="13276469" cy="2812690"/>
              </a:xfrm>
              <a:prstGeom prst="rect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egular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FE7D64E6-1F9F-4943-B9B8-CBECB838132F}"/>
                  </a:ext>
                </a:extLst>
              </p:cNvPr>
              <p:cNvSpPr/>
              <p:nvPr/>
            </p:nvSpPr>
            <p:spPr>
              <a:xfrm>
                <a:off x="10883494" y="4724560"/>
                <a:ext cx="3748754" cy="2812690"/>
              </a:xfrm>
              <a:prstGeom prst="rect">
                <a:avLst/>
              </a:prstGeom>
              <a:solidFill>
                <a:schemeClr val="tx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egular"/>
                  <a:ea typeface="+mn-ea"/>
                  <a:cs typeface="+mn-cs"/>
                </a:endParaRPr>
              </a:p>
            </p:txBody>
          </p:sp>
        </p:grpSp>
        <p:sp>
          <p:nvSpPr>
            <p:cNvPr id="17" name="Freeform 38">
              <a:extLst>
                <a:ext uri="{FF2B5EF4-FFF2-40B4-BE49-F238E27FC236}">
                  <a16:creationId xmlns:a16="http://schemas.microsoft.com/office/drawing/2014/main" id="{DB665266-C462-42A5-A4D5-0A4E4B3C8209}"/>
                </a:ext>
              </a:extLst>
            </p:cNvPr>
            <p:cNvSpPr/>
            <p:nvPr/>
          </p:nvSpPr>
          <p:spPr>
            <a:xfrm rot="10800000">
              <a:off x="7015354" y="5067473"/>
              <a:ext cx="3171078" cy="2379259"/>
            </a:xfrm>
            <a:custGeom>
              <a:avLst/>
              <a:gdLst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877803 w 2327681"/>
                <a:gd name="connsiteY2" fmla="*/ 1443354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7681" h="1443354">
                  <a:moveTo>
                    <a:pt x="0" y="0"/>
                  </a:moveTo>
                  <a:lnTo>
                    <a:pt x="2327681" y="0"/>
                  </a:lnTo>
                  <a:lnTo>
                    <a:pt x="877803" y="1443354"/>
                  </a:lnTo>
                  <a:lnTo>
                    <a:pt x="0" y="14433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Regular"/>
                <a:ea typeface="+mn-ea"/>
                <a:cs typeface="+mn-cs"/>
              </a:endParaRPr>
            </a:p>
          </p:txBody>
        </p:sp>
      </p:grp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B74C0010-5739-4C1C-9594-DB2D0795E53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53291 w 12192000"/>
              <a:gd name="connsiteY0" fmla="*/ 4130612 h 6858000"/>
              <a:gd name="connsiteX1" fmla="*/ 353291 w 12192000"/>
              <a:gd name="connsiteY1" fmla="*/ 6524625 h 6858000"/>
              <a:gd name="connsiteX2" fmla="*/ 11838710 w 12192000"/>
              <a:gd name="connsiteY2" fmla="*/ 6524625 h 6858000"/>
              <a:gd name="connsiteX3" fmla="*/ 11838710 w 12192000"/>
              <a:gd name="connsiteY3" fmla="*/ 4130612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53291" y="4130612"/>
                </a:moveTo>
                <a:lnTo>
                  <a:pt x="353291" y="6524625"/>
                </a:lnTo>
                <a:lnTo>
                  <a:pt x="11838710" y="6524625"/>
                </a:lnTo>
                <a:lnTo>
                  <a:pt x="11838710" y="413061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20" name="Freeform 41">
            <a:extLst>
              <a:ext uri="{FF2B5EF4-FFF2-40B4-BE49-F238E27FC236}">
                <a16:creationId xmlns:a16="http://schemas.microsoft.com/office/drawing/2014/main" id="{1E5B25EA-22B1-4940-A934-A419BAD5BEFE}"/>
              </a:ext>
            </a:extLst>
          </p:cNvPr>
          <p:cNvSpPr/>
          <p:nvPr userDrawn="1"/>
        </p:nvSpPr>
        <p:spPr>
          <a:xfrm>
            <a:off x="9034179" y="4306161"/>
            <a:ext cx="2639923" cy="2188975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21" name="Grafik 7">
            <a:extLst>
              <a:ext uri="{FF2B5EF4-FFF2-40B4-BE49-F238E27FC236}">
                <a16:creationId xmlns:a16="http://schemas.microsoft.com/office/drawing/2014/main" id="{B347AC67-6751-45BD-920D-C7678E7227D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2919" y="4670750"/>
            <a:ext cx="3007747" cy="503746"/>
          </a:xfrm>
          <a:prstGeom prst="rect">
            <a:avLst/>
          </a:prstGeom>
        </p:spPr>
      </p:pic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19B77B6-560F-4AB3-8F49-584C755101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4713" y="4589979"/>
            <a:ext cx="6607175" cy="1477328"/>
          </a:xfrm>
        </p:spPr>
        <p:txBody>
          <a:bodyPr anchor="ctr">
            <a:noAutofit/>
          </a:bodyPr>
          <a:lstStyle>
            <a:lvl1pPr marL="0" indent="0">
              <a:buNone/>
              <a:defRPr sz="3200" kern="100" spc="0" baseline="0">
                <a:solidFill>
                  <a:schemeClr val="bg1"/>
                </a:solidFill>
              </a:defRPr>
            </a:lvl1pPr>
            <a:lvl2pPr marL="358775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136177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 userDrawn="1">
          <p15:clr>
            <a:srgbClr val="A4A3A4"/>
          </p15:clr>
        </p15:guide>
        <p15:guide id="2" pos="483" userDrawn="1">
          <p15:clr>
            <a:srgbClr val="A4A3A4"/>
          </p15:clr>
        </p15:guide>
        <p15:guide id="4" orient="horz" pos="754" userDrawn="1">
          <p15:clr>
            <a:srgbClr val="A4A3A4"/>
          </p15:clr>
        </p15:guide>
        <p15:guide id="5" orient="horz" pos="640" userDrawn="1">
          <p15:clr>
            <a:srgbClr val="A4A3A4"/>
          </p15:clr>
        </p15:guide>
        <p15:guide id="6" orient="horz" pos="4065" userDrawn="1">
          <p15:clr>
            <a:srgbClr val="A4A3A4"/>
          </p15:clr>
        </p15:guide>
        <p15:guide id="7" pos="7197" userDrawn="1">
          <p15:clr>
            <a:srgbClr val="A4A3A4"/>
          </p15:clr>
        </p15:guide>
        <p15:guide id="8" orient="horz" pos="4110" userDrawn="1">
          <p15:clr>
            <a:srgbClr val="F26B43"/>
          </p15:clr>
        </p15:guide>
        <p15:guide id="9" pos="226" userDrawn="1">
          <p15:clr>
            <a:srgbClr val="F26B43"/>
          </p15:clr>
        </p15:guide>
        <p15:guide id="10" pos="7452" userDrawn="1">
          <p15:clr>
            <a:srgbClr val="F26B43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//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4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de-DE" sz="32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82F7FFF-4C5B-4019-9384-D49F46D526EB}"/>
              </a:ext>
            </a:extLst>
          </p:cNvPr>
          <p:cNvGrpSpPr/>
          <p:nvPr/>
        </p:nvGrpSpPr>
        <p:grpSpPr>
          <a:xfrm>
            <a:off x="218788" y="4130611"/>
            <a:ext cx="11754424" cy="2396064"/>
            <a:chOff x="705451" y="5067472"/>
            <a:chExt cx="11671993" cy="2379260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8586F8AD-DF01-425F-82E1-C7B3B54D2332}"/>
                </a:ext>
              </a:extLst>
            </p:cNvPr>
            <p:cNvGrpSpPr/>
            <p:nvPr/>
          </p:nvGrpSpPr>
          <p:grpSpPr>
            <a:xfrm>
              <a:off x="705451" y="5067472"/>
              <a:ext cx="11671993" cy="2379260"/>
              <a:chOff x="833963" y="4724559"/>
              <a:chExt cx="13798285" cy="2812691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D9BEDEC5-A311-4772-8ED2-5EF31FB83501}"/>
                  </a:ext>
                </a:extLst>
              </p:cNvPr>
              <p:cNvSpPr/>
              <p:nvPr/>
            </p:nvSpPr>
            <p:spPr>
              <a:xfrm>
                <a:off x="833963" y="4724559"/>
                <a:ext cx="13276469" cy="2812690"/>
              </a:xfrm>
              <a:prstGeom prst="rect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914400">
                  <a:defRPr/>
                </a:pPr>
                <a:endParaRPr lang="de-DE" kern="0" dirty="0">
                  <a:solidFill>
                    <a:srgbClr val="FFFFFF"/>
                  </a:solidFill>
                  <a:latin typeface="Arial Regular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FE7D64E6-1F9F-4943-B9B8-CBECB838132F}"/>
                  </a:ext>
                </a:extLst>
              </p:cNvPr>
              <p:cNvSpPr/>
              <p:nvPr/>
            </p:nvSpPr>
            <p:spPr>
              <a:xfrm>
                <a:off x="10883494" y="4724560"/>
                <a:ext cx="3748754" cy="2812690"/>
              </a:xfrm>
              <a:prstGeom prst="rect">
                <a:avLst/>
              </a:prstGeom>
              <a:solidFill>
                <a:schemeClr val="tx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914400">
                  <a:defRPr/>
                </a:pPr>
                <a:endParaRPr lang="de-DE" kern="0" dirty="0">
                  <a:solidFill>
                    <a:srgbClr val="FFFFFF"/>
                  </a:solidFill>
                  <a:latin typeface="Arial Regular"/>
                </a:endParaRPr>
              </a:p>
            </p:txBody>
          </p:sp>
        </p:grpSp>
        <p:sp>
          <p:nvSpPr>
            <p:cNvPr id="17" name="Freeform 38">
              <a:extLst>
                <a:ext uri="{FF2B5EF4-FFF2-40B4-BE49-F238E27FC236}">
                  <a16:creationId xmlns:a16="http://schemas.microsoft.com/office/drawing/2014/main" id="{DB665266-C462-42A5-A4D5-0A4E4B3C8209}"/>
                </a:ext>
              </a:extLst>
            </p:cNvPr>
            <p:cNvSpPr/>
            <p:nvPr/>
          </p:nvSpPr>
          <p:spPr>
            <a:xfrm rot="10800000">
              <a:off x="7015354" y="5067473"/>
              <a:ext cx="3171078" cy="2379259"/>
            </a:xfrm>
            <a:custGeom>
              <a:avLst/>
              <a:gdLst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877803 w 2327681"/>
                <a:gd name="connsiteY2" fmla="*/ 1443354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7681" h="1443354">
                  <a:moveTo>
                    <a:pt x="0" y="0"/>
                  </a:moveTo>
                  <a:lnTo>
                    <a:pt x="2327681" y="0"/>
                  </a:lnTo>
                  <a:lnTo>
                    <a:pt x="877803" y="1443354"/>
                  </a:lnTo>
                  <a:lnTo>
                    <a:pt x="0" y="14433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defTabSz="914400">
                <a:defRPr/>
              </a:pPr>
              <a:endParaRPr lang="de-DE" kern="0" dirty="0">
                <a:solidFill>
                  <a:srgbClr val="FFFFFF"/>
                </a:solidFill>
                <a:latin typeface="Arial Regular"/>
              </a:endParaRPr>
            </a:p>
          </p:txBody>
        </p:sp>
      </p:grp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B74C0010-5739-4C1C-9594-DB2D0795E53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53291 w 12192000"/>
              <a:gd name="connsiteY0" fmla="*/ 4130612 h 6858000"/>
              <a:gd name="connsiteX1" fmla="*/ 353291 w 12192000"/>
              <a:gd name="connsiteY1" fmla="*/ 6524625 h 6858000"/>
              <a:gd name="connsiteX2" fmla="*/ 11838710 w 12192000"/>
              <a:gd name="connsiteY2" fmla="*/ 6524625 h 6858000"/>
              <a:gd name="connsiteX3" fmla="*/ 11838710 w 12192000"/>
              <a:gd name="connsiteY3" fmla="*/ 4130612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53291" y="4130612"/>
                </a:moveTo>
                <a:lnTo>
                  <a:pt x="353291" y="6524625"/>
                </a:lnTo>
                <a:lnTo>
                  <a:pt x="11838710" y="6524625"/>
                </a:lnTo>
                <a:lnTo>
                  <a:pt x="11838710" y="413061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20" name="Freeform 41">
            <a:extLst>
              <a:ext uri="{FF2B5EF4-FFF2-40B4-BE49-F238E27FC236}">
                <a16:creationId xmlns:a16="http://schemas.microsoft.com/office/drawing/2014/main" id="{1E5B25EA-22B1-4940-A934-A419BAD5BEFE}"/>
              </a:ext>
            </a:extLst>
          </p:cNvPr>
          <p:cNvSpPr/>
          <p:nvPr userDrawn="1"/>
        </p:nvSpPr>
        <p:spPr>
          <a:xfrm>
            <a:off x="9034179" y="4306161"/>
            <a:ext cx="2639923" cy="2188975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rgbClr val="FFFFFF"/>
              </a:solidFill>
            </a:endParaRPr>
          </a:p>
        </p:txBody>
      </p:sp>
      <p:pic>
        <p:nvPicPr>
          <p:cNvPr id="21" name="Grafik 7">
            <a:extLst>
              <a:ext uri="{FF2B5EF4-FFF2-40B4-BE49-F238E27FC236}">
                <a16:creationId xmlns:a16="http://schemas.microsoft.com/office/drawing/2014/main" id="{B347AC67-6751-45BD-920D-C7678E7227D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2919" y="4670750"/>
            <a:ext cx="3007747" cy="503746"/>
          </a:xfrm>
          <a:prstGeom prst="rect">
            <a:avLst/>
          </a:prstGeom>
        </p:spPr>
      </p:pic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19B77B6-560F-4AB3-8F49-584C755101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4713" y="4589979"/>
            <a:ext cx="6607175" cy="1477328"/>
          </a:xfrm>
        </p:spPr>
        <p:txBody>
          <a:bodyPr anchor="ctr">
            <a:noAutofit/>
          </a:bodyPr>
          <a:lstStyle>
            <a:lvl1pPr marL="0" indent="0">
              <a:buNone/>
              <a:defRPr sz="3200" kern="100" spc="0" baseline="0">
                <a:solidFill>
                  <a:schemeClr val="bg1"/>
                </a:solidFill>
              </a:defRPr>
            </a:lvl1pPr>
            <a:lvl2pPr marL="358775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10866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A4A3A4"/>
          </p15:clr>
        </p15:guide>
        <p15:guide id="2" pos="483">
          <p15:clr>
            <a:srgbClr val="A4A3A4"/>
          </p15:clr>
        </p15:guide>
        <p15:guide id="3" orient="horz" pos="754">
          <p15:clr>
            <a:srgbClr val="A4A3A4"/>
          </p15:clr>
        </p15:guide>
        <p15:guide id="4" orient="horz" pos="640">
          <p15:clr>
            <a:srgbClr val="A4A3A4"/>
          </p15:clr>
        </p15:guide>
        <p15:guide id="5" orient="horz" pos="4065">
          <p15:clr>
            <a:srgbClr val="A4A3A4"/>
          </p15:clr>
        </p15:guide>
        <p15:guide id="6" pos="7197">
          <p15:clr>
            <a:srgbClr val="A4A3A4"/>
          </p15:clr>
        </p15:guide>
        <p15:guide id="7" orient="horz" pos="4110">
          <p15:clr>
            <a:srgbClr val="F26B43"/>
          </p15:clr>
        </p15:guide>
        <p15:guide id="8" pos="226">
          <p15:clr>
            <a:srgbClr val="F26B43"/>
          </p15:clr>
        </p15:guide>
        <p15:guide id="9" pos="7452">
          <p15:clr>
            <a:srgbClr val="F26B43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mit Partnerlogo //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6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de-DE" sz="32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grpSp>
        <p:nvGrpSpPr>
          <p:cNvPr id="29" name="Group 13">
            <a:extLst>
              <a:ext uri="{FF2B5EF4-FFF2-40B4-BE49-F238E27FC236}">
                <a16:creationId xmlns:a16="http://schemas.microsoft.com/office/drawing/2014/main" id="{335203DB-BB95-45FD-92B6-E081F17DE4F9}"/>
              </a:ext>
            </a:extLst>
          </p:cNvPr>
          <p:cNvGrpSpPr/>
          <p:nvPr userDrawn="1"/>
        </p:nvGrpSpPr>
        <p:grpSpPr>
          <a:xfrm>
            <a:off x="218788" y="4130611"/>
            <a:ext cx="11754424" cy="2396064"/>
            <a:chOff x="705451" y="5067472"/>
            <a:chExt cx="11671993" cy="2379260"/>
          </a:xfrm>
        </p:grpSpPr>
        <p:grpSp>
          <p:nvGrpSpPr>
            <p:cNvPr id="30" name="Group 15">
              <a:extLst>
                <a:ext uri="{FF2B5EF4-FFF2-40B4-BE49-F238E27FC236}">
                  <a16:creationId xmlns:a16="http://schemas.microsoft.com/office/drawing/2014/main" id="{AAA4E5A4-94CD-4627-AE97-DEF771CC8485}"/>
                </a:ext>
              </a:extLst>
            </p:cNvPr>
            <p:cNvGrpSpPr/>
            <p:nvPr/>
          </p:nvGrpSpPr>
          <p:grpSpPr>
            <a:xfrm>
              <a:off x="705451" y="5067472"/>
              <a:ext cx="11671993" cy="2379260"/>
              <a:chOff x="833963" y="4724559"/>
              <a:chExt cx="13798285" cy="2812691"/>
            </a:xfrm>
          </p:grpSpPr>
          <p:sp>
            <p:nvSpPr>
              <p:cNvPr id="32" name="Rectangle 17">
                <a:extLst>
                  <a:ext uri="{FF2B5EF4-FFF2-40B4-BE49-F238E27FC236}">
                    <a16:creationId xmlns:a16="http://schemas.microsoft.com/office/drawing/2014/main" id="{49DF0C5F-5F84-4CEC-84D6-C9910C47507D}"/>
                  </a:ext>
                </a:extLst>
              </p:cNvPr>
              <p:cNvSpPr/>
              <p:nvPr/>
            </p:nvSpPr>
            <p:spPr>
              <a:xfrm>
                <a:off x="833963" y="4724559"/>
                <a:ext cx="13276469" cy="2812690"/>
              </a:xfrm>
              <a:prstGeom prst="rect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914400">
                  <a:defRPr/>
                </a:pPr>
                <a:endParaRPr lang="de-DE" kern="0" dirty="0">
                  <a:solidFill>
                    <a:srgbClr val="FFFFFF"/>
                  </a:solidFill>
                  <a:latin typeface="Arial Regular"/>
                </a:endParaRPr>
              </a:p>
            </p:txBody>
          </p:sp>
          <p:sp>
            <p:nvSpPr>
              <p:cNvPr id="33" name="Rectangle 18">
                <a:extLst>
                  <a:ext uri="{FF2B5EF4-FFF2-40B4-BE49-F238E27FC236}">
                    <a16:creationId xmlns:a16="http://schemas.microsoft.com/office/drawing/2014/main" id="{5C7CF1D4-9F77-4732-A3CE-9212756F6675}"/>
                  </a:ext>
                </a:extLst>
              </p:cNvPr>
              <p:cNvSpPr/>
              <p:nvPr/>
            </p:nvSpPr>
            <p:spPr>
              <a:xfrm>
                <a:off x="10883494" y="4724560"/>
                <a:ext cx="3748754" cy="2812690"/>
              </a:xfrm>
              <a:prstGeom prst="rect">
                <a:avLst/>
              </a:prstGeom>
              <a:solidFill>
                <a:schemeClr val="tx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914400">
                  <a:defRPr/>
                </a:pPr>
                <a:endParaRPr lang="de-DE" kern="0" dirty="0">
                  <a:solidFill>
                    <a:srgbClr val="FFFFFF"/>
                  </a:solidFill>
                  <a:latin typeface="Arial Regular"/>
                </a:endParaRPr>
              </a:p>
            </p:txBody>
          </p:sp>
        </p:grpSp>
        <p:sp>
          <p:nvSpPr>
            <p:cNvPr id="31" name="Freeform 38">
              <a:extLst>
                <a:ext uri="{FF2B5EF4-FFF2-40B4-BE49-F238E27FC236}">
                  <a16:creationId xmlns:a16="http://schemas.microsoft.com/office/drawing/2014/main" id="{1B2B8562-DFB8-4D2A-A47E-0EBC958016A1}"/>
                </a:ext>
              </a:extLst>
            </p:cNvPr>
            <p:cNvSpPr/>
            <p:nvPr/>
          </p:nvSpPr>
          <p:spPr>
            <a:xfrm rot="10800000">
              <a:off x="7015354" y="5067473"/>
              <a:ext cx="3171078" cy="2379259"/>
            </a:xfrm>
            <a:custGeom>
              <a:avLst/>
              <a:gdLst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877803 w 2327681"/>
                <a:gd name="connsiteY2" fmla="*/ 1443354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7681" h="1443354">
                  <a:moveTo>
                    <a:pt x="0" y="0"/>
                  </a:moveTo>
                  <a:lnTo>
                    <a:pt x="2327681" y="0"/>
                  </a:lnTo>
                  <a:lnTo>
                    <a:pt x="877803" y="1443354"/>
                  </a:lnTo>
                  <a:lnTo>
                    <a:pt x="0" y="14433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defTabSz="914400">
                <a:defRPr/>
              </a:pPr>
              <a:endParaRPr lang="de-DE" kern="0" dirty="0">
                <a:solidFill>
                  <a:srgbClr val="FFFFFF"/>
                </a:solidFill>
                <a:latin typeface="Arial Regular"/>
              </a:endParaRPr>
            </a:p>
          </p:txBody>
        </p:sp>
      </p:grpSp>
      <p:grpSp>
        <p:nvGrpSpPr>
          <p:cNvPr id="15" name="Group 13">
            <a:extLst>
              <a:ext uri="{FF2B5EF4-FFF2-40B4-BE49-F238E27FC236}">
                <a16:creationId xmlns:a16="http://schemas.microsoft.com/office/drawing/2014/main" id="{87F5A82D-EEDB-48C0-9382-EE0628DDB34F}"/>
              </a:ext>
            </a:extLst>
          </p:cNvPr>
          <p:cNvGrpSpPr/>
          <p:nvPr userDrawn="1"/>
        </p:nvGrpSpPr>
        <p:grpSpPr>
          <a:xfrm>
            <a:off x="359290" y="4130611"/>
            <a:ext cx="11613922" cy="2396064"/>
            <a:chOff x="844968" y="5067472"/>
            <a:chExt cx="11532476" cy="2379260"/>
          </a:xfrm>
        </p:grpSpPr>
        <p:grpSp>
          <p:nvGrpSpPr>
            <p:cNvPr id="22" name="Group 15">
              <a:extLst>
                <a:ext uri="{FF2B5EF4-FFF2-40B4-BE49-F238E27FC236}">
                  <a16:creationId xmlns:a16="http://schemas.microsoft.com/office/drawing/2014/main" id="{0C85F3B6-DE09-41F2-92AB-4AF818562994}"/>
                </a:ext>
              </a:extLst>
            </p:cNvPr>
            <p:cNvGrpSpPr/>
            <p:nvPr/>
          </p:nvGrpSpPr>
          <p:grpSpPr>
            <a:xfrm>
              <a:off x="844968" y="5067472"/>
              <a:ext cx="11532476" cy="2379260"/>
              <a:chOff x="998896" y="4724559"/>
              <a:chExt cx="13633352" cy="2812691"/>
            </a:xfrm>
          </p:grpSpPr>
          <p:sp>
            <p:nvSpPr>
              <p:cNvPr id="27" name="Rectangle 17">
                <a:extLst>
                  <a:ext uri="{FF2B5EF4-FFF2-40B4-BE49-F238E27FC236}">
                    <a16:creationId xmlns:a16="http://schemas.microsoft.com/office/drawing/2014/main" id="{9D1197FA-2349-4878-8140-4CBC5EC9E534}"/>
                  </a:ext>
                </a:extLst>
              </p:cNvPr>
              <p:cNvSpPr/>
              <p:nvPr/>
            </p:nvSpPr>
            <p:spPr>
              <a:xfrm>
                <a:off x="998896" y="4724559"/>
                <a:ext cx="13111536" cy="2812690"/>
              </a:xfrm>
              <a:prstGeom prst="rect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914400">
                  <a:defRPr/>
                </a:pPr>
                <a:endParaRPr lang="de-DE" kern="0" dirty="0">
                  <a:solidFill>
                    <a:srgbClr val="FFFFFF"/>
                  </a:solidFill>
                  <a:latin typeface="Arial Regular"/>
                </a:endParaRPr>
              </a:p>
            </p:txBody>
          </p:sp>
          <p:sp>
            <p:nvSpPr>
              <p:cNvPr id="28" name="Rectangle 18">
                <a:extLst>
                  <a:ext uri="{FF2B5EF4-FFF2-40B4-BE49-F238E27FC236}">
                    <a16:creationId xmlns:a16="http://schemas.microsoft.com/office/drawing/2014/main" id="{5CD863F0-DA7E-4ED3-9AFB-3FC439CFDF59}"/>
                  </a:ext>
                </a:extLst>
              </p:cNvPr>
              <p:cNvSpPr/>
              <p:nvPr/>
            </p:nvSpPr>
            <p:spPr>
              <a:xfrm>
                <a:off x="10883494" y="4724560"/>
                <a:ext cx="3748754" cy="2812690"/>
              </a:xfrm>
              <a:prstGeom prst="rect">
                <a:avLst/>
              </a:prstGeom>
              <a:solidFill>
                <a:schemeClr val="tx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914400">
                  <a:defRPr/>
                </a:pPr>
                <a:endParaRPr lang="de-DE" kern="0" dirty="0">
                  <a:solidFill>
                    <a:srgbClr val="FFFFFF"/>
                  </a:solidFill>
                  <a:latin typeface="Arial Regular"/>
                </a:endParaRPr>
              </a:p>
            </p:txBody>
          </p:sp>
        </p:grpSp>
        <p:sp>
          <p:nvSpPr>
            <p:cNvPr id="24" name="Freeform 38">
              <a:extLst>
                <a:ext uri="{FF2B5EF4-FFF2-40B4-BE49-F238E27FC236}">
                  <a16:creationId xmlns:a16="http://schemas.microsoft.com/office/drawing/2014/main" id="{725F7311-C3D1-45E1-B266-854264697917}"/>
                </a:ext>
              </a:extLst>
            </p:cNvPr>
            <p:cNvSpPr/>
            <p:nvPr/>
          </p:nvSpPr>
          <p:spPr>
            <a:xfrm rot="10800000">
              <a:off x="7015354" y="5067473"/>
              <a:ext cx="3171078" cy="2379259"/>
            </a:xfrm>
            <a:custGeom>
              <a:avLst/>
              <a:gdLst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877803 w 2327681"/>
                <a:gd name="connsiteY2" fmla="*/ 1443354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7681" h="1443354">
                  <a:moveTo>
                    <a:pt x="0" y="0"/>
                  </a:moveTo>
                  <a:lnTo>
                    <a:pt x="2327681" y="0"/>
                  </a:lnTo>
                  <a:lnTo>
                    <a:pt x="877803" y="1443354"/>
                  </a:lnTo>
                  <a:lnTo>
                    <a:pt x="0" y="14433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defTabSz="914400">
                <a:defRPr/>
              </a:pPr>
              <a:endParaRPr lang="de-DE" kern="0" dirty="0">
                <a:solidFill>
                  <a:srgbClr val="FFFFFF"/>
                </a:solidFill>
                <a:latin typeface="Arial Regular"/>
              </a:endParaRPr>
            </a:p>
          </p:txBody>
        </p:sp>
      </p:grp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B74C0010-5739-4C1C-9594-DB2D0795E53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53291 w 12192000"/>
              <a:gd name="connsiteY0" fmla="*/ 4130612 h 6858000"/>
              <a:gd name="connsiteX1" fmla="*/ 353291 w 12192000"/>
              <a:gd name="connsiteY1" fmla="*/ 6524625 h 6858000"/>
              <a:gd name="connsiteX2" fmla="*/ 11838710 w 12192000"/>
              <a:gd name="connsiteY2" fmla="*/ 6524625 h 6858000"/>
              <a:gd name="connsiteX3" fmla="*/ 11838710 w 12192000"/>
              <a:gd name="connsiteY3" fmla="*/ 4130612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53291" y="4130612"/>
                </a:moveTo>
                <a:lnTo>
                  <a:pt x="353291" y="6524625"/>
                </a:lnTo>
                <a:lnTo>
                  <a:pt x="11838710" y="6524625"/>
                </a:lnTo>
                <a:lnTo>
                  <a:pt x="11838710" y="413061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20" name="Freeform 41">
            <a:extLst>
              <a:ext uri="{FF2B5EF4-FFF2-40B4-BE49-F238E27FC236}">
                <a16:creationId xmlns:a16="http://schemas.microsoft.com/office/drawing/2014/main" id="{1E5B25EA-22B1-4940-A934-A419BAD5BEFE}"/>
              </a:ext>
            </a:extLst>
          </p:cNvPr>
          <p:cNvSpPr/>
          <p:nvPr userDrawn="1"/>
        </p:nvSpPr>
        <p:spPr>
          <a:xfrm>
            <a:off x="9034179" y="4306161"/>
            <a:ext cx="2639923" cy="2188975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rgbClr val="FFFFFF"/>
              </a:solidFill>
            </a:endParaRPr>
          </a:p>
        </p:txBody>
      </p:sp>
      <p:pic>
        <p:nvPicPr>
          <p:cNvPr id="21" name="Grafik 7">
            <a:extLst>
              <a:ext uri="{FF2B5EF4-FFF2-40B4-BE49-F238E27FC236}">
                <a16:creationId xmlns:a16="http://schemas.microsoft.com/office/drawing/2014/main" id="{B347AC67-6751-45BD-920D-C7678E7227D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2919" y="4670750"/>
            <a:ext cx="3007747" cy="503746"/>
          </a:xfrm>
          <a:prstGeom prst="rect">
            <a:avLst/>
          </a:prstGeom>
        </p:spPr>
      </p:pic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135A0093-C8EA-44AF-B4B0-FF9BBF7FEE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4713" y="4589979"/>
            <a:ext cx="6607175" cy="1477328"/>
          </a:xfrm>
        </p:spPr>
        <p:txBody>
          <a:bodyPr anchor="ctr">
            <a:noAutofit/>
          </a:bodyPr>
          <a:lstStyle>
            <a:lvl1pPr marL="0" indent="0">
              <a:buNone/>
              <a:defRPr sz="3200" kern="100" spc="0" baseline="0">
                <a:solidFill>
                  <a:schemeClr val="bg1"/>
                </a:solidFill>
              </a:defRPr>
            </a:lvl1pPr>
            <a:lvl2pPr marL="358775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6C0C2256-F31B-4578-8FDF-D88F94784B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582025" y="5438409"/>
            <a:ext cx="2206625" cy="552450"/>
          </a:xfrm>
          <a:custGeom>
            <a:avLst/>
            <a:gdLst>
              <a:gd name="connsiteX0" fmla="*/ 92077 w 2206625"/>
              <a:gd name="connsiteY0" fmla="*/ 0 h 552450"/>
              <a:gd name="connsiteX1" fmla="*/ 2114548 w 2206625"/>
              <a:gd name="connsiteY1" fmla="*/ 0 h 552450"/>
              <a:gd name="connsiteX2" fmla="*/ 2206625 w 2206625"/>
              <a:gd name="connsiteY2" fmla="*/ 92077 h 552450"/>
              <a:gd name="connsiteX3" fmla="*/ 2206625 w 2206625"/>
              <a:gd name="connsiteY3" fmla="*/ 460373 h 552450"/>
              <a:gd name="connsiteX4" fmla="*/ 2114548 w 2206625"/>
              <a:gd name="connsiteY4" fmla="*/ 552450 h 552450"/>
              <a:gd name="connsiteX5" fmla="*/ 92077 w 2206625"/>
              <a:gd name="connsiteY5" fmla="*/ 552450 h 552450"/>
              <a:gd name="connsiteX6" fmla="*/ 0 w 2206625"/>
              <a:gd name="connsiteY6" fmla="*/ 460373 h 552450"/>
              <a:gd name="connsiteX7" fmla="*/ 0 w 2206625"/>
              <a:gd name="connsiteY7" fmla="*/ 92077 h 552450"/>
              <a:gd name="connsiteX8" fmla="*/ 92077 w 2206625"/>
              <a:gd name="connsiteY8" fmla="*/ 0 h 552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06625" h="552450">
                <a:moveTo>
                  <a:pt x="92077" y="0"/>
                </a:moveTo>
                <a:lnTo>
                  <a:pt x="2114548" y="0"/>
                </a:lnTo>
                <a:cubicBezTo>
                  <a:pt x="2165401" y="0"/>
                  <a:pt x="2206625" y="41224"/>
                  <a:pt x="2206625" y="92077"/>
                </a:cubicBezTo>
                <a:lnTo>
                  <a:pt x="2206625" y="460373"/>
                </a:lnTo>
                <a:cubicBezTo>
                  <a:pt x="2206625" y="511226"/>
                  <a:pt x="2165401" y="552450"/>
                  <a:pt x="2114548" y="552450"/>
                </a:cubicBezTo>
                <a:lnTo>
                  <a:pt x="92077" y="552450"/>
                </a:lnTo>
                <a:cubicBezTo>
                  <a:pt x="41224" y="552450"/>
                  <a:pt x="0" y="511226"/>
                  <a:pt x="0" y="460373"/>
                </a:cubicBezTo>
                <a:lnTo>
                  <a:pt x="0" y="92077"/>
                </a:lnTo>
                <a:cubicBezTo>
                  <a:pt x="0" y="41224"/>
                  <a:pt x="41224" y="0"/>
                  <a:pt x="92077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87197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A4A3A4"/>
          </p15:clr>
        </p15:guide>
        <p15:guide id="2" pos="483">
          <p15:clr>
            <a:srgbClr val="A4A3A4"/>
          </p15:clr>
        </p15:guide>
        <p15:guide id="3" orient="horz" pos="754">
          <p15:clr>
            <a:srgbClr val="A4A3A4"/>
          </p15:clr>
        </p15:guide>
        <p15:guide id="4" orient="horz" pos="640">
          <p15:clr>
            <a:srgbClr val="A4A3A4"/>
          </p15:clr>
        </p15:guide>
        <p15:guide id="5" orient="horz" pos="4065">
          <p15:clr>
            <a:srgbClr val="A4A3A4"/>
          </p15:clr>
        </p15:guide>
        <p15:guide id="6" pos="7197">
          <p15:clr>
            <a:srgbClr val="A4A3A4"/>
          </p15:clr>
        </p15:guide>
        <p15:guide id="7" orient="horz" pos="4110">
          <p15:clr>
            <a:srgbClr val="F26B43"/>
          </p15:clr>
        </p15:guide>
        <p15:guide id="8" pos="226">
          <p15:clr>
            <a:srgbClr val="F26B43"/>
          </p15:clr>
        </p15:guide>
        <p15:guide id="9" pos="7452">
          <p15:clr>
            <a:srgbClr val="F26B43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folie // Bilplatzhalter mit Text (1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662DB07-81B8-4BDA-8345-7D0D9D3C5C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90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7AFB56EF-E792-40E5-AEB2-936FD2D0D4D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661991 w 12192000"/>
              <a:gd name="connsiteY0" fmla="*/ 339114 h 6858000"/>
              <a:gd name="connsiteX1" fmla="*/ 1 w 12192000"/>
              <a:gd name="connsiteY1" fmla="*/ 410557 h 6858000"/>
              <a:gd name="connsiteX2" fmla="*/ 1 w 12192000"/>
              <a:gd name="connsiteY2" fmla="*/ 421468 h 6858000"/>
              <a:gd name="connsiteX3" fmla="*/ 1 w 12192000"/>
              <a:gd name="connsiteY3" fmla="*/ 426812 h 6858000"/>
              <a:gd name="connsiteX4" fmla="*/ 1 w 12192000"/>
              <a:gd name="connsiteY4" fmla="*/ 445011 h 6858000"/>
              <a:gd name="connsiteX5" fmla="*/ 1 w 12192000"/>
              <a:gd name="connsiteY5" fmla="*/ 465201 h 6858000"/>
              <a:gd name="connsiteX6" fmla="*/ 1 w 12192000"/>
              <a:gd name="connsiteY6" fmla="*/ 470545 h 6858000"/>
              <a:gd name="connsiteX7" fmla="*/ 1 w 12192000"/>
              <a:gd name="connsiteY7" fmla="*/ 490176 h 6858000"/>
              <a:gd name="connsiteX8" fmla="*/ 1 w 12192000"/>
              <a:gd name="connsiteY8" fmla="*/ 510367 h 6858000"/>
              <a:gd name="connsiteX9" fmla="*/ 1 w 12192000"/>
              <a:gd name="connsiteY9" fmla="*/ 515710 h 6858000"/>
              <a:gd name="connsiteX10" fmla="*/ 1 w 12192000"/>
              <a:gd name="connsiteY10" fmla="*/ 523515 h 6858000"/>
              <a:gd name="connsiteX11" fmla="*/ 1 w 12192000"/>
              <a:gd name="connsiteY11" fmla="*/ 533909 h 6858000"/>
              <a:gd name="connsiteX12" fmla="*/ 1 w 12192000"/>
              <a:gd name="connsiteY12" fmla="*/ 543706 h 6858000"/>
              <a:gd name="connsiteX13" fmla="*/ 1 w 12192000"/>
              <a:gd name="connsiteY13" fmla="*/ 549050 h 6858000"/>
              <a:gd name="connsiteX14" fmla="*/ 1 w 12192000"/>
              <a:gd name="connsiteY14" fmla="*/ 554100 h 6858000"/>
              <a:gd name="connsiteX15" fmla="*/ 1 w 12192000"/>
              <a:gd name="connsiteY15" fmla="*/ 559443 h 6858000"/>
              <a:gd name="connsiteX16" fmla="*/ 1 w 12192000"/>
              <a:gd name="connsiteY16" fmla="*/ 567248 h 6858000"/>
              <a:gd name="connsiteX17" fmla="*/ 1 w 12192000"/>
              <a:gd name="connsiteY17" fmla="*/ 587439 h 6858000"/>
              <a:gd name="connsiteX18" fmla="*/ 1 w 12192000"/>
              <a:gd name="connsiteY18" fmla="*/ 592783 h 6858000"/>
              <a:gd name="connsiteX19" fmla="*/ 1 w 12192000"/>
              <a:gd name="connsiteY19" fmla="*/ 612414 h 6858000"/>
              <a:gd name="connsiteX20" fmla="*/ 1 w 12192000"/>
              <a:gd name="connsiteY20" fmla="*/ 632604 h 6858000"/>
              <a:gd name="connsiteX21" fmla="*/ 1 w 12192000"/>
              <a:gd name="connsiteY21" fmla="*/ 637948 h 6858000"/>
              <a:gd name="connsiteX22" fmla="*/ 1 w 12192000"/>
              <a:gd name="connsiteY22" fmla="*/ 656147 h 6858000"/>
              <a:gd name="connsiteX23" fmla="*/ 1 w 12192000"/>
              <a:gd name="connsiteY23" fmla="*/ 676337 h 6858000"/>
              <a:gd name="connsiteX24" fmla="*/ 1 w 12192000"/>
              <a:gd name="connsiteY24" fmla="*/ 681681 h 6858000"/>
              <a:gd name="connsiteX25" fmla="*/ 1 w 12192000"/>
              <a:gd name="connsiteY25" fmla="*/ 744823 h 6858000"/>
              <a:gd name="connsiteX26" fmla="*/ 1 w 12192000"/>
              <a:gd name="connsiteY26" fmla="*/ 744923 h 6858000"/>
              <a:gd name="connsiteX27" fmla="*/ 1 w 12192000"/>
              <a:gd name="connsiteY27" fmla="*/ 788556 h 6858000"/>
              <a:gd name="connsiteX28" fmla="*/ 1 w 12192000"/>
              <a:gd name="connsiteY28" fmla="*/ 788656 h 6858000"/>
              <a:gd name="connsiteX29" fmla="*/ 1 w 12192000"/>
              <a:gd name="connsiteY29" fmla="*/ 806425 h 6858000"/>
              <a:gd name="connsiteX30" fmla="*/ 1 w 12192000"/>
              <a:gd name="connsiteY30" fmla="*/ 826616 h 6858000"/>
              <a:gd name="connsiteX31" fmla="*/ 1 w 12192000"/>
              <a:gd name="connsiteY31" fmla="*/ 833721 h 6858000"/>
              <a:gd name="connsiteX32" fmla="*/ 1 w 12192000"/>
              <a:gd name="connsiteY32" fmla="*/ 833821 h 6858000"/>
              <a:gd name="connsiteX33" fmla="*/ 1 w 12192000"/>
              <a:gd name="connsiteY33" fmla="*/ 850158 h 6858000"/>
              <a:gd name="connsiteX34" fmla="*/ 1 w 12192000"/>
              <a:gd name="connsiteY34" fmla="*/ 867061 h 6858000"/>
              <a:gd name="connsiteX35" fmla="*/ 1 w 12192000"/>
              <a:gd name="connsiteY35" fmla="*/ 867160 h 6858000"/>
              <a:gd name="connsiteX36" fmla="*/ 1 w 12192000"/>
              <a:gd name="connsiteY36" fmla="*/ 870349 h 6858000"/>
              <a:gd name="connsiteX37" fmla="*/ 1 w 12192000"/>
              <a:gd name="connsiteY37" fmla="*/ 877454 h 6858000"/>
              <a:gd name="connsiteX38" fmla="*/ 1 w 12192000"/>
              <a:gd name="connsiteY38" fmla="*/ 877554 h 6858000"/>
              <a:gd name="connsiteX39" fmla="*/ 1 w 12192000"/>
              <a:gd name="connsiteY39" fmla="*/ 895324 h 6858000"/>
              <a:gd name="connsiteX40" fmla="*/ 1 w 12192000"/>
              <a:gd name="connsiteY40" fmla="*/ 910794 h 6858000"/>
              <a:gd name="connsiteX41" fmla="*/ 1 w 12192000"/>
              <a:gd name="connsiteY41" fmla="*/ 910893 h 6858000"/>
              <a:gd name="connsiteX42" fmla="*/ 1 w 12192000"/>
              <a:gd name="connsiteY42" fmla="*/ 915514 h 6858000"/>
              <a:gd name="connsiteX43" fmla="*/ 1 w 12192000"/>
              <a:gd name="connsiteY43" fmla="*/ 928663 h 6858000"/>
              <a:gd name="connsiteX44" fmla="*/ 1 w 12192000"/>
              <a:gd name="connsiteY44" fmla="*/ 939057 h 6858000"/>
              <a:gd name="connsiteX45" fmla="*/ 1 w 12192000"/>
              <a:gd name="connsiteY45" fmla="*/ 948854 h 6858000"/>
              <a:gd name="connsiteX46" fmla="*/ 1 w 12192000"/>
              <a:gd name="connsiteY46" fmla="*/ 955959 h 6858000"/>
              <a:gd name="connsiteX47" fmla="*/ 1 w 12192000"/>
              <a:gd name="connsiteY47" fmla="*/ 956059 h 6858000"/>
              <a:gd name="connsiteX48" fmla="*/ 1 w 12192000"/>
              <a:gd name="connsiteY48" fmla="*/ 959247 h 6858000"/>
              <a:gd name="connsiteX49" fmla="*/ 1 w 12192000"/>
              <a:gd name="connsiteY49" fmla="*/ 972396 h 6858000"/>
              <a:gd name="connsiteX50" fmla="*/ 1 w 12192000"/>
              <a:gd name="connsiteY50" fmla="*/ 992587 h 6858000"/>
              <a:gd name="connsiteX51" fmla="*/ 1 w 12192000"/>
              <a:gd name="connsiteY51" fmla="*/ 999692 h 6858000"/>
              <a:gd name="connsiteX52" fmla="*/ 1 w 12192000"/>
              <a:gd name="connsiteY52" fmla="*/ 999792 h 6858000"/>
              <a:gd name="connsiteX53" fmla="*/ 1 w 12192000"/>
              <a:gd name="connsiteY53" fmla="*/ 1017561 h 6858000"/>
              <a:gd name="connsiteX54" fmla="*/ 1 w 12192000"/>
              <a:gd name="connsiteY54" fmla="*/ 1037752 h 6858000"/>
              <a:gd name="connsiteX55" fmla="*/ 1 w 12192000"/>
              <a:gd name="connsiteY55" fmla="*/ 1061294 h 6858000"/>
              <a:gd name="connsiteX56" fmla="*/ 1 w 12192000"/>
              <a:gd name="connsiteY56" fmla="*/ 1081485 h 6858000"/>
              <a:gd name="connsiteX57" fmla="*/ 661991 w 12192000"/>
              <a:gd name="connsiteY57" fmla="*/ 1010042 h 6858000"/>
              <a:gd name="connsiteX58" fmla="*/ 661991 w 12192000"/>
              <a:gd name="connsiteY58" fmla="*/ 999792 h 6858000"/>
              <a:gd name="connsiteX59" fmla="*/ 661991 w 12192000"/>
              <a:gd name="connsiteY59" fmla="*/ 999692 h 6858000"/>
              <a:gd name="connsiteX60" fmla="*/ 661991 w 12192000"/>
              <a:gd name="connsiteY60" fmla="*/ 989851 h 6858000"/>
              <a:gd name="connsiteX61" fmla="*/ 661991 w 12192000"/>
              <a:gd name="connsiteY61" fmla="*/ 976580 h 6858000"/>
              <a:gd name="connsiteX62" fmla="*/ 661991 w 12192000"/>
              <a:gd name="connsiteY62" fmla="*/ 966309 h 6858000"/>
              <a:gd name="connsiteX63" fmla="*/ 661991 w 12192000"/>
              <a:gd name="connsiteY63" fmla="*/ 956059 h 6858000"/>
              <a:gd name="connsiteX64" fmla="*/ 661991 w 12192000"/>
              <a:gd name="connsiteY64" fmla="*/ 955959 h 6858000"/>
              <a:gd name="connsiteX65" fmla="*/ 661991 w 12192000"/>
              <a:gd name="connsiteY65" fmla="*/ 946118 h 6858000"/>
              <a:gd name="connsiteX66" fmla="*/ 661991 w 12192000"/>
              <a:gd name="connsiteY66" fmla="*/ 932847 h 6858000"/>
              <a:gd name="connsiteX67" fmla="*/ 661991 w 12192000"/>
              <a:gd name="connsiteY67" fmla="*/ 921144 h 6858000"/>
              <a:gd name="connsiteX68" fmla="*/ 661991 w 12192000"/>
              <a:gd name="connsiteY68" fmla="*/ 915078 h 6858000"/>
              <a:gd name="connsiteX69" fmla="*/ 661991 w 12192000"/>
              <a:gd name="connsiteY69" fmla="*/ 910893 h 6858000"/>
              <a:gd name="connsiteX70" fmla="*/ 661991 w 12192000"/>
              <a:gd name="connsiteY70" fmla="*/ 910794 h 6858000"/>
              <a:gd name="connsiteX71" fmla="*/ 661991 w 12192000"/>
              <a:gd name="connsiteY71" fmla="*/ 900953 h 6858000"/>
              <a:gd name="connsiteX72" fmla="*/ 661991 w 12192000"/>
              <a:gd name="connsiteY72" fmla="*/ 894886 h 6858000"/>
              <a:gd name="connsiteX73" fmla="*/ 661991 w 12192000"/>
              <a:gd name="connsiteY73" fmla="*/ 887805 h 6858000"/>
              <a:gd name="connsiteX74" fmla="*/ 661991 w 12192000"/>
              <a:gd name="connsiteY74" fmla="*/ 887681 h 6858000"/>
              <a:gd name="connsiteX75" fmla="*/ 661991 w 12192000"/>
              <a:gd name="connsiteY75" fmla="*/ 877554 h 6858000"/>
              <a:gd name="connsiteX76" fmla="*/ 661991 w 12192000"/>
              <a:gd name="connsiteY76" fmla="*/ 877454 h 6858000"/>
              <a:gd name="connsiteX77" fmla="*/ 661991 w 12192000"/>
              <a:gd name="connsiteY77" fmla="*/ 877411 h 6858000"/>
              <a:gd name="connsiteX78" fmla="*/ 661991 w 12192000"/>
              <a:gd name="connsiteY78" fmla="*/ 871345 h 6858000"/>
              <a:gd name="connsiteX79" fmla="*/ 661991 w 12192000"/>
              <a:gd name="connsiteY79" fmla="*/ 867613 h 6858000"/>
              <a:gd name="connsiteX80" fmla="*/ 661991 w 12192000"/>
              <a:gd name="connsiteY80" fmla="*/ 867160 h 6858000"/>
              <a:gd name="connsiteX81" fmla="*/ 661991 w 12192000"/>
              <a:gd name="connsiteY81" fmla="*/ 867061 h 6858000"/>
              <a:gd name="connsiteX82" fmla="*/ 661991 w 12192000"/>
              <a:gd name="connsiteY82" fmla="*/ 857220 h 6858000"/>
              <a:gd name="connsiteX83" fmla="*/ 661991 w 12192000"/>
              <a:gd name="connsiteY83" fmla="*/ 854342 h 6858000"/>
              <a:gd name="connsiteX84" fmla="*/ 661991 w 12192000"/>
              <a:gd name="connsiteY84" fmla="*/ 851153 h 6858000"/>
              <a:gd name="connsiteX85" fmla="*/ 661991 w 12192000"/>
              <a:gd name="connsiteY85" fmla="*/ 844072 h 6858000"/>
              <a:gd name="connsiteX86" fmla="*/ 661991 w 12192000"/>
              <a:gd name="connsiteY86" fmla="*/ 843948 h 6858000"/>
              <a:gd name="connsiteX87" fmla="*/ 661991 w 12192000"/>
              <a:gd name="connsiteY87" fmla="*/ 833821 h 6858000"/>
              <a:gd name="connsiteX88" fmla="*/ 661991 w 12192000"/>
              <a:gd name="connsiteY88" fmla="*/ 833721 h 6858000"/>
              <a:gd name="connsiteX89" fmla="*/ 661991 w 12192000"/>
              <a:gd name="connsiteY89" fmla="*/ 826180 h 6858000"/>
              <a:gd name="connsiteX90" fmla="*/ 661991 w 12192000"/>
              <a:gd name="connsiteY90" fmla="*/ 823880 h 6858000"/>
              <a:gd name="connsiteX91" fmla="*/ 661991 w 12192000"/>
              <a:gd name="connsiteY91" fmla="*/ 810609 h 6858000"/>
              <a:gd name="connsiteX92" fmla="*/ 661991 w 12192000"/>
              <a:gd name="connsiteY92" fmla="*/ 805988 h 6858000"/>
              <a:gd name="connsiteX93" fmla="*/ 661991 w 12192000"/>
              <a:gd name="connsiteY93" fmla="*/ 798906 h 6858000"/>
              <a:gd name="connsiteX94" fmla="*/ 661991 w 12192000"/>
              <a:gd name="connsiteY94" fmla="*/ 792840 h 6858000"/>
              <a:gd name="connsiteX95" fmla="*/ 661991 w 12192000"/>
              <a:gd name="connsiteY95" fmla="*/ 788656 h 6858000"/>
              <a:gd name="connsiteX96" fmla="*/ 661991 w 12192000"/>
              <a:gd name="connsiteY96" fmla="*/ 788556 h 6858000"/>
              <a:gd name="connsiteX97" fmla="*/ 661991 w 12192000"/>
              <a:gd name="connsiteY97" fmla="*/ 782447 h 6858000"/>
              <a:gd name="connsiteX98" fmla="*/ 661991 w 12192000"/>
              <a:gd name="connsiteY98" fmla="*/ 778715 h 6858000"/>
              <a:gd name="connsiteX99" fmla="*/ 661991 w 12192000"/>
              <a:gd name="connsiteY99" fmla="*/ 772649 h 6858000"/>
              <a:gd name="connsiteX100" fmla="*/ 661991 w 12192000"/>
              <a:gd name="connsiteY100" fmla="*/ 765444 h 6858000"/>
              <a:gd name="connsiteX101" fmla="*/ 661991 w 12192000"/>
              <a:gd name="connsiteY101" fmla="*/ 762255 h 6858000"/>
              <a:gd name="connsiteX102" fmla="*/ 661991 w 12192000"/>
              <a:gd name="connsiteY102" fmla="*/ 755173 h 6858000"/>
              <a:gd name="connsiteX103" fmla="*/ 661991 w 12192000"/>
              <a:gd name="connsiteY103" fmla="*/ 749107 h 6858000"/>
              <a:gd name="connsiteX104" fmla="*/ 661991 w 12192000"/>
              <a:gd name="connsiteY104" fmla="*/ 744923 h 6858000"/>
              <a:gd name="connsiteX105" fmla="*/ 661991 w 12192000"/>
              <a:gd name="connsiteY105" fmla="*/ 744823 h 6858000"/>
              <a:gd name="connsiteX106" fmla="*/ 661991 w 12192000"/>
              <a:gd name="connsiteY106" fmla="*/ 734982 h 6858000"/>
              <a:gd name="connsiteX107" fmla="*/ 661991 w 12192000"/>
              <a:gd name="connsiteY107" fmla="*/ 728916 h 6858000"/>
              <a:gd name="connsiteX108" fmla="*/ 661991 w 12192000"/>
              <a:gd name="connsiteY108" fmla="*/ 721711 h 6858000"/>
              <a:gd name="connsiteX109" fmla="*/ 661991 w 12192000"/>
              <a:gd name="connsiteY109" fmla="*/ 703942 h 6858000"/>
              <a:gd name="connsiteX110" fmla="*/ 661991 w 12192000"/>
              <a:gd name="connsiteY110" fmla="*/ 689608 h 6858000"/>
              <a:gd name="connsiteX111" fmla="*/ 661991 w 12192000"/>
              <a:gd name="connsiteY111" fmla="*/ 683750 h 6858000"/>
              <a:gd name="connsiteX112" fmla="*/ 661991 w 12192000"/>
              <a:gd name="connsiteY112" fmla="*/ 681681 h 6858000"/>
              <a:gd name="connsiteX113" fmla="*/ 661991 w 12192000"/>
              <a:gd name="connsiteY113" fmla="*/ 660209 h 6858000"/>
              <a:gd name="connsiteX114" fmla="*/ 661991 w 12192000"/>
              <a:gd name="connsiteY114" fmla="*/ 645875 h 6858000"/>
              <a:gd name="connsiteX115" fmla="*/ 661991 w 12192000"/>
              <a:gd name="connsiteY115" fmla="*/ 640017 h 6858000"/>
              <a:gd name="connsiteX116" fmla="*/ 661991 w 12192000"/>
              <a:gd name="connsiteY116" fmla="*/ 637948 h 6858000"/>
              <a:gd name="connsiteX117" fmla="*/ 661991 w 12192000"/>
              <a:gd name="connsiteY117" fmla="*/ 604895 h 6858000"/>
              <a:gd name="connsiteX118" fmla="*/ 661991 w 12192000"/>
              <a:gd name="connsiteY118" fmla="*/ 600710 h 6858000"/>
              <a:gd name="connsiteX119" fmla="*/ 661991 w 12192000"/>
              <a:gd name="connsiteY119" fmla="*/ 592783 h 6858000"/>
              <a:gd name="connsiteX120" fmla="*/ 661991 w 12192000"/>
              <a:gd name="connsiteY120" fmla="*/ 584703 h 6858000"/>
              <a:gd name="connsiteX121" fmla="*/ 661991 w 12192000"/>
              <a:gd name="connsiteY121" fmla="*/ 567371 h 6858000"/>
              <a:gd name="connsiteX122" fmla="*/ 661991 w 12192000"/>
              <a:gd name="connsiteY122" fmla="*/ 561162 h 6858000"/>
              <a:gd name="connsiteX123" fmla="*/ 661991 w 12192000"/>
              <a:gd name="connsiteY123" fmla="*/ 559443 h 6858000"/>
              <a:gd name="connsiteX124" fmla="*/ 661991 w 12192000"/>
              <a:gd name="connsiteY124" fmla="*/ 556977 h 6858000"/>
              <a:gd name="connsiteX125" fmla="*/ 661991 w 12192000"/>
              <a:gd name="connsiteY125" fmla="*/ 549050 h 6858000"/>
              <a:gd name="connsiteX126" fmla="*/ 661991 w 12192000"/>
              <a:gd name="connsiteY126" fmla="*/ 540970 h 6858000"/>
              <a:gd name="connsiteX127" fmla="*/ 661991 w 12192000"/>
              <a:gd name="connsiteY127" fmla="*/ 523638 h 6858000"/>
              <a:gd name="connsiteX128" fmla="*/ 661991 w 12192000"/>
              <a:gd name="connsiteY128" fmla="*/ 515996 h 6858000"/>
              <a:gd name="connsiteX129" fmla="*/ 661991 w 12192000"/>
              <a:gd name="connsiteY129" fmla="*/ 515710 h 6858000"/>
              <a:gd name="connsiteX130" fmla="*/ 661991 w 12192000"/>
              <a:gd name="connsiteY130" fmla="*/ 495805 h 6858000"/>
              <a:gd name="connsiteX131" fmla="*/ 661991 w 12192000"/>
              <a:gd name="connsiteY131" fmla="*/ 482657 h 6858000"/>
              <a:gd name="connsiteX132" fmla="*/ 661991 w 12192000"/>
              <a:gd name="connsiteY132" fmla="*/ 478472 h 6858000"/>
              <a:gd name="connsiteX133" fmla="*/ 661991 w 12192000"/>
              <a:gd name="connsiteY133" fmla="*/ 472263 h 6858000"/>
              <a:gd name="connsiteX134" fmla="*/ 661991 w 12192000"/>
              <a:gd name="connsiteY134" fmla="*/ 470545 h 6858000"/>
              <a:gd name="connsiteX135" fmla="*/ 661991 w 12192000"/>
              <a:gd name="connsiteY135" fmla="*/ 462465 h 6858000"/>
              <a:gd name="connsiteX136" fmla="*/ 661991 w 12192000"/>
              <a:gd name="connsiteY136" fmla="*/ 452072 h 6858000"/>
              <a:gd name="connsiteX137" fmla="*/ 661991 w 12192000"/>
              <a:gd name="connsiteY137" fmla="*/ 438924 h 6858000"/>
              <a:gd name="connsiteX138" fmla="*/ 661991 w 12192000"/>
              <a:gd name="connsiteY138" fmla="*/ 434739 h 6858000"/>
              <a:gd name="connsiteX139" fmla="*/ 661991 w 12192000"/>
              <a:gd name="connsiteY139" fmla="*/ 426812 h 6858000"/>
              <a:gd name="connsiteX140" fmla="*/ 661991 w 12192000"/>
              <a:gd name="connsiteY140" fmla="*/ 418732 h 6858000"/>
              <a:gd name="connsiteX141" fmla="*/ 661991 w 12192000"/>
              <a:gd name="connsiteY141" fmla="*/ 393759 h 6858000"/>
              <a:gd name="connsiteX142" fmla="*/ 661991 w 12192000"/>
              <a:gd name="connsiteY142" fmla="*/ 373567 h 6858000"/>
              <a:gd name="connsiteX143" fmla="*/ 661991 w 12192000"/>
              <a:gd name="connsiteY143" fmla="*/ 350026 h 6858000"/>
              <a:gd name="connsiteX144" fmla="*/ 0 w 12192000"/>
              <a:gd name="connsiteY144" fmla="*/ 0 h 6858000"/>
              <a:gd name="connsiteX145" fmla="*/ 12192000 w 12192000"/>
              <a:gd name="connsiteY145" fmla="*/ 0 h 6858000"/>
              <a:gd name="connsiteX146" fmla="*/ 12192000 w 12192000"/>
              <a:gd name="connsiteY146" fmla="*/ 6858000 h 6858000"/>
              <a:gd name="connsiteX147" fmla="*/ 0 w 12192000"/>
              <a:gd name="connsiteY14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12192000" h="6858000">
                <a:moveTo>
                  <a:pt x="661991" y="339114"/>
                </a:moveTo>
                <a:lnTo>
                  <a:pt x="1" y="410557"/>
                </a:lnTo>
                <a:lnTo>
                  <a:pt x="1" y="421468"/>
                </a:lnTo>
                <a:lnTo>
                  <a:pt x="1" y="426812"/>
                </a:lnTo>
                <a:lnTo>
                  <a:pt x="1" y="445011"/>
                </a:lnTo>
                <a:lnTo>
                  <a:pt x="1" y="465201"/>
                </a:lnTo>
                <a:lnTo>
                  <a:pt x="1" y="470545"/>
                </a:lnTo>
                <a:lnTo>
                  <a:pt x="1" y="490176"/>
                </a:lnTo>
                <a:lnTo>
                  <a:pt x="1" y="510367"/>
                </a:lnTo>
                <a:lnTo>
                  <a:pt x="1" y="515710"/>
                </a:lnTo>
                <a:lnTo>
                  <a:pt x="1" y="523515"/>
                </a:lnTo>
                <a:lnTo>
                  <a:pt x="1" y="533909"/>
                </a:lnTo>
                <a:lnTo>
                  <a:pt x="1" y="543706"/>
                </a:lnTo>
                <a:lnTo>
                  <a:pt x="1" y="549050"/>
                </a:lnTo>
                <a:lnTo>
                  <a:pt x="1" y="554100"/>
                </a:lnTo>
                <a:lnTo>
                  <a:pt x="1" y="559443"/>
                </a:lnTo>
                <a:lnTo>
                  <a:pt x="1" y="567248"/>
                </a:lnTo>
                <a:lnTo>
                  <a:pt x="1" y="587439"/>
                </a:lnTo>
                <a:lnTo>
                  <a:pt x="1" y="592783"/>
                </a:lnTo>
                <a:lnTo>
                  <a:pt x="1" y="612414"/>
                </a:lnTo>
                <a:lnTo>
                  <a:pt x="1" y="632604"/>
                </a:lnTo>
                <a:lnTo>
                  <a:pt x="1" y="637948"/>
                </a:lnTo>
                <a:lnTo>
                  <a:pt x="1" y="656147"/>
                </a:lnTo>
                <a:lnTo>
                  <a:pt x="1" y="676337"/>
                </a:lnTo>
                <a:lnTo>
                  <a:pt x="1" y="681681"/>
                </a:lnTo>
                <a:lnTo>
                  <a:pt x="1" y="744823"/>
                </a:lnTo>
                <a:lnTo>
                  <a:pt x="1" y="744923"/>
                </a:lnTo>
                <a:lnTo>
                  <a:pt x="1" y="788556"/>
                </a:lnTo>
                <a:lnTo>
                  <a:pt x="1" y="788656"/>
                </a:lnTo>
                <a:lnTo>
                  <a:pt x="1" y="806425"/>
                </a:lnTo>
                <a:lnTo>
                  <a:pt x="1" y="826616"/>
                </a:lnTo>
                <a:lnTo>
                  <a:pt x="1" y="833721"/>
                </a:lnTo>
                <a:lnTo>
                  <a:pt x="1" y="833821"/>
                </a:lnTo>
                <a:lnTo>
                  <a:pt x="1" y="850158"/>
                </a:lnTo>
                <a:lnTo>
                  <a:pt x="1" y="867061"/>
                </a:lnTo>
                <a:lnTo>
                  <a:pt x="1" y="867160"/>
                </a:lnTo>
                <a:lnTo>
                  <a:pt x="1" y="870349"/>
                </a:lnTo>
                <a:lnTo>
                  <a:pt x="1" y="877454"/>
                </a:lnTo>
                <a:lnTo>
                  <a:pt x="1" y="877554"/>
                </a:lnTo>
                <a:lnTo>
                  <a:pt x="1" y="895324"/>
                </a:lnTo>
                <a:lnTo>
                  <a:pt x="1" y="910794"/>
                </a:lnTo>
                <a:lnTo>
                  <a:pt x="1" y="910893"/>
                </a:lnTo>
                <a:lnTo>
                  <a:pt x="1" y="915514"/>
                </a:lnTo>
                <a:lnTo>
                  <a:pt x="1" y="928663"/>
                </a:lnTo>
                <a:lnTo>
                  <a:pt x="1" y="939057"/>
                </a:lnTo>
                <a:lnTo>
                  <a:pt x="1" y="948854"/>
                </a:lnTo>
                <a:lnTo>
                  <a:pt x="1" y="955959"/>
                </a:lnTo>
                <a:lnTo>
                  <a:pt x="1" y="956059"/>
                </a:lnTo>
                <a:lnTo>
                  <a:pt x="1" y="959247"/>
                </a:lnTo>
                <a:lnTo>
                  <a:pt x="1" y="972396"/>
                </a:lnTo>
                <a:lnTo>
                  <a:pt x="1" y="992587"/>
                </a:lnTo>
                <a:lnTo>
                  <a:pt x="1" y="999692"/>
                </a:lnTo>
                <a:lnTo>
                  <a:pt x="1" y="999792"/>
                </a:lnTo>
                <a:lnTo>
                  <a:pt x="1" y="1017561"/>
                </a:lnTo>
                <a:lnTo>
                  <a:pt x="1" y="1037752"/>
                </a:lnTo>
                <a:lnTo>
                  <a:pt x="1" y="1061294"/>
                </a:lnTo>
                <a:lnTo>
                  <a:pt x="1" y="1081485"/>
                </a:lnTo>
                <a:lnTo>
                  <a:pt x="661991" y="1010042"/>
                </a:lnTo>
                <a:lnTo>
                  <a:pt x="661991" y="999792"/>
                </a:lnTo>
                <a:lnTo>
                  <a:pt x="661991" y="999692"/>
                </a:lnTo>
                <a:lnTo>
                  <a:pt x="661991" y="989851"/>
                </a:lnTo>
                <a:lnTo>
                  <a:pt x="661991" y="976580"/>
                </a:lnTo>
                <a:lnTo>
                  <a:pt x="661991" y="966309"/>
                </a:lnTo>
                <a:lnTo>
                  <a:pt x="661991" y="956059"/>
                </a:lnTo>
                <a:lnTo>
                  <a:pt x="661991" y="955959"/>
                </a:lnTo>
                <a:lnTo>
                  <a:pt x="661991" y="946118"/>
                </a:lnTo>
                <a:lnTo>
                  <a:pt x="661991" y="932847"/>
                </a:lnTo>
                <a:lnTo>
                  <a:pt x="661991" y="921144"/>
                </a:lnTo>
                <a:lnTo>
                  <a:pt x="661991" y="915078"/>
                </a:lnTo>
                <a:lnTo>
                  <a:pt x="661991" y="910893"/>
                </a:lnTo>
                <a:lnTo>
                  <a:pt x="661991" y="910794"/>
                </a:lnTo>
                <a:lnTo>
                  <a:pt x="661991" y="900953"/>
                </a:lnTo>
                <a:lnTo>
                  <a:pt x="661991" y="894886"/>
                </a:lnTo>
                <a:lnTo>
                  <a:pt x="661991" y="887805"/>
                </a:lnTo>
                <a:lnTo>
                  <a:pt x="661991" y="887681"/>
                </a:lnTo>
                <a:lnTo>
                  <a:pt x="661991" y="877554"/>
                </a:lnTo>
                <a:lnTo>
                  <a:pt x="661991" y="877454"/>
                </a:lnTo>
                <a:lnTo>
                  <a:pt x="661991" y="877411"/>
                </a:lnTo>
                <a:lnTo>
                  <a:pt x="661991" y="871345"/>
                </a:lnTo>
                <a:lnTo>
                  <a:pt x="661991" y="867613"/>
                </a:lnTo>
                <a:lnTo>
                  <a:pt x="661991" y="867160"/>
                </a:lnTo>
                <a:lnTo>
                  <a:pt x="661991" y="867061"/>
                </a:lnTo>
                <a:lnTo>
                  <a:pt x="661991" y="857220"/>
                </a:lnTo>
                <a:lnTo>
                  <a:pt x="661991" y="854342"/>
                </a:lnTo>
                <a:lnTo>
                  <a:pt x="661991" y="851153"/>
                </a:lnTo>
                <a:lnTo>
                  <a:pt x="661991" y="844072"/>
                </a:lnTo>
                <a:lnTo>
                  <a:pt x="661991" y="843948"/>
                </a:lnTo>
                <a:lnTo>
                  <a:pt x="661991" y="833821"/>
                </a:lnTo>
                <a:lnTo>
                  <a:pt x="661991" y="833721"/>
                </a:lnTo>
                <a:lnTo>
                  <a:pt x="661991" y="826180"/>
                </a:lnTo>
                <a:lnTo>
                  <a:pt x="661991" y="823880"/>
                </a:lnTo>
                <a:lnTo>
                  <a:pt x="661991" y="810609"/>
                </a:lnTo>
                <a:lnTo>
                  <a:pt x="661991" y="805988"/>
                </a:lnTo>
                <a:lnTo>
                  <a:pt x="661991" y="798906"/>
                </a:lnTo>
                <a:lnTo>
                  <a:pt x="661991" y="792840"/>
                </a:lnTo>
                <a:lnTo>
                  <a:pt x="661991" y="788656"/>
                </a:lnTo>
                <a:lnTo>
                  <a:pt x="661991" y="788556"/>
                </a:lnTo>
                <a:lnTo>
                  <a:pt x="661991" y="782447"/>
                </a:lnTo>
                <a:lnTo>
                  <a:pt x="661991" y="778715"/>
                </a:lnTo>
                <a:lnTo>
                  <a:pt x="661991" y="772649"/>
                </a:lnTo>
                <a:lnTo>
                  <a:pt x="661991" y="765444"/>
                </a:lnTo>
                <a:lnTo>
                  <a:pt x="661991" y="762255"/>
                </a:lnTo>
                <a:lnTo>
                  <a:pt x="661991" y="755173"/>
                </a:lnTo>
                <a:lnTo>
                  <a:pt x="661991" y="749107"/>
                </a:lnTo>
                <a:lnTo>
                  <a:pt x="661991" y="744923"/>
                </a:lnTo>
                <a:lnTo>
                  <a:pt x="661991" y="744823"/>
                </a:lnTo>
                <a:lnTo>
                  <a:pt x="661991" y="734982"/>
                </a:lnTo>
                <a:lnTo>
                  <a:pt x="661991" y="728916"/>
                </a:lnTo>
                <a:lnTo>
                  <a:pt x="661991" y="721711"/>
                </a:lnTo>
                <a:lnTo>
                  <a:pt x="661991" y="703942"/>
                </a:lnTo>
                <a:lnTo>
                  <a:pt x="661991" y="689608"/>
                </a:lnTo>
                <a:lnTo>
                  <a:pt x="661991" y="683750"/>
                </a:lnTo>
                <a:lnTo>
                  <a:pt x="661991" y="681681"/>
                </a:lnTo>
                <a:lnTo>
                  <a:pt x="661991" y="660209"/>
                </a:lnTo>
                <a:lnTo>
                  <a:pt x="661991" y="645875"/>
                </a:lnTo>
                <a:lnTo>
                  <a:pt x="661991" y="640017"/>
                </a:lnTo>
                <a:lnTo>
                  <a:pt x="661991" y="637948"/>
                </a:lnTo>
                <a:lnTo>
                  <a:pt x="661991" y="604895"/>
                </a:lnTo>
                <a:lnTo>
                  <a:pt x="661991" y="600710"/>
                </a:lnTo>
                <a:lnTo>
                  <a:pt x="661991" y="592783"/>
                </a:lnTo>
                <a:lnTo>
                  <a:pt x="661991" y="584703"/>
                </a:lnTo>
                <a:lnTo>
                  <a:pt x="661991" y="567371"/>
                </a:lnTo>
                <a:lnTo>
                  <a:pt x="661991" y="561162"/>
                </a:lnTo>
                <a:lnTo>
                  <a:pt x="661991" y="559443"/>
                </a:lnTo>
                <a:lnTo>
                  <a:pt x="661991" y="556977"/>
                </a:lnTo>
                <a:lnTo>
                  <a:pt x="661991" y="549050"/>
                </a:lnTo>
                <a:lnTo>
                  <a:pt x="661991" y="540970"/>
                </a:lnTo>
                <a:lnTo>
                  <a:pt x="661991" y="523638"/>
                </a:lnTo>
                <a:lnTo>
                  <a:pt x="661991" y="515996"/>
                </a:lnTo>
                <a:lnTo>
                  <a:pt x="661991" y="515710"/>
                </a:lnTo>
                <a:lnTo>
                  <a:pt x="661991" y="495805"/>
                </a:lnTo>
                <a:lnTo>
                  <a:pt x="661991" y="482657"/>
                </a:lnTo>
                <a:lnTo>
                  <a:pt x="661991" y="478472"/>
                </a:lnTo>
                <a:lnTo>
                  <a:pt x="661991" y="472263"/>
                </a:lnTo>
                <a:lnTo>
                  <a:pt x="661991" y="470545"/>
                </a:lnTo>
                <a:lnTo>
                  <a:pt x="661991" y="462465"/>
                </a:lnTo>
                <a:lnTo>
                  <a:pt x="661991" y="452072"/>
                </a:lnTo>
                <a:lnTo>
                  <a:pt x="661991" y="438924"/>
                </a:lnTo>
                <a:lnTo>
                  <a:pt x="661991" y="434739"/>
                </a:lnTo>
                <a:lnTo>
                  <a:pt x="661991" y="426812"/>
                </a:lnTo>
                <a:lnTo>
                  <a:pt x="661991" y="418732"/>
                </a:lnTo>
                <a:lnTo>
                  <a:pt x="661991" y="393759"/>
                </a:lnTo>
                <a:lnTo>
                  <a:pt x="661991" y="373567"/>
                </a:lnTo>
                <a:lnTo>
                  <a:pt x="661991" y="35002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 bIns="1584000" anchor="b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E9CC2C3-73C3-41F8-A9F3-4DFF1E4B52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4061" y="3092783"/>
            <a:ext cx="9743879" cy="677108"/>
          </a:xfrm>
        </p:spPr>
        <p:txBody>
          <a:bodyPr anchor="ctr">
            <a:spAutoFit/>
          </a:bodyPr>
          <a:lstStyle>
            <a:lvl1pPr marL="0" indent="0" algn="ctr">
              <a:spcAft>
                <a:spcPts val="0"/>
              </a:spcAft>
              <a:buNone/>
              <a:defRPr sz="4400" b="1" kern="600" spc="40" baseline="0">
                <a:solidFill>
                  <a:schemeClr val="tx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grpSp>
        <p:nvGrpSpPr>
          <p:cNvPr id="5" name="Group 13">
            <a:extLst>
              <a:ext uri="{FF2B5EF4-FFF2-40B4-BE49-F238E27FC236}">
                <a16:creationId xmlns:a16="http://schemas.microsoft.com/office/drawing/2014/main" id="{FD461ADA-45A7-4378-B5B9-54CE9BF89A9C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6" name="Freeform 40">
              <a:extLst>
                <a:ext uri="{FF2B5EF4-FFF2-40B4-BE49-F238E27FC236}">
                  <a16:creationId xmlns:a16="http://schemas.microsoft.com/office/drawing/2014/main" id="{1AA0CEEF-19FF-43A0-8966-6DB91FA5A5B2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bg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7" name="Freeform 41">
              <a:extLst>
                <a:ext uri="{FF2B5EF4-FFF2-40B4-BE49-F238E27FC236}">
                  <a16:creationId xmlns:a16="http://schemas.microsoft.com/office/drawing/2014/main" id="{2D34465F-A7E6-49C4-A2DD-CFD03E807F00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498800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folie // Bilplatzhalter mit Text (2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662DB07-81B8-4BDA-8345-7D0D9D3C5C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14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E2CD7A7C-6BED-4042-88C8-8ACEEFC464C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742301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223370 h 6858000"/>
              <a:gd name="connsiteX3" fmla="*/ 5621103 w 12192000"/>
              <a:gd name="connsiteY3" fmla="*/ 6858000 h 6858000"/>
              <a:gd name="connsiteX4" fmla="*/ 0 w 12192000"/>
              <a:gd name="connsiteY4" fmla="*/ 6858000 h 6858000"/>
              <a:gd name="connsiteX5" fmla="*/ 0 w 12192000"/>
              <a:gd name="connsiteY5" fmla="*/ 1081483 h 6858000"/>
              <a:gd name="connsiteX6" fmla="*/ 1 w 12192000"/>
              <a:gd name="connsiteY6" fmla="*/ 1081483 h 6858000"/>
              <a:gd name="connsiteX7" fmla="*/ 1 w 12192000"/>
              <a:gd name="connsiteY7" fmla="*/ 1081485 h 6858000"/>
              <a:gd name="connsiteX8" fmla="*/ 354 w 12192000"/>
              <a:gd name="connsiteY8" fmla="*/ 108144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10742301" y="0"/>
                </a:moveTo>
                <a:lnTo>
                  <a:pt x="12192000" y="0"/>
                </a:lnTo>
                <a:lnTo>
                  <a:pt x="12192000" y="6223370"/>
                </a:lnTo>
                <a:lnTo>
                  <a:pt x="5621103" y="6858000"/>
                </a:lnTo>
                <a:lnTo>
                  <a:pt x="0" y="6858000"/>
                </a:lnTo>
                <a:lnTo>
                  <a:pt x="0" y="1081483"/>
                </a:lnTo>
                <a:lnTo>
                  <a:pt x="1" y="1081483"/>
                </a:lnTo>
                <a:lnTo>
                  <a:pt x="1" y="1081485"/>
                </a:lnTo>
                <a:lnTo>
                  <a:pt x="354" y="1081447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 bIns="1584000" anchor="b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E9CC2C3-73C3-41F8-A9F3-4DFF1E4B52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4061" y="3092783"/>
            <a:ext cx="9743879" cy="677108"/>
          </a:xfrm>
        </p:spPr>
        <p:txBody>
          <a:bodyPr anchor="ctr">
            <a:spAutoFit/>
          </a:bodyPr>
          <a:lstStyle>
            <a:lvl1pPr marL="0" indent="0" algn="ctr">
              <a:spcAft>
                <a:spcPts val="0"/>
              </a:spcAft>
              <a:buNone/>
              <a:defRPr sz="4400" b="1" kern="600" spc="40" baseline="0">
                <a:solidFill>
                  <a:schemeClr val="tx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5" name="Freihandform: Form 27">
            <a:extLst>
              <a:ext uri="{FF2B5EF4-FFF2-40B4-BE49-F238E27FC236}">
                <a16:creationId xmlns:a16="http://schemas.microsoft.com/office/drawing/2014/main" id="{0C357E27-A970-4422-8105-7EAD4D7908AF}"/>
              </a:ext>
            </a:extLst>
          </p:cNvPr>
          <p:cNvSpPr/>
          <p:nvPr userDrawn="1"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000000"/>
              </a:solidFill>
            </a:endParaRPr>
          </a:p>
        </p:txBody>
      </p:sp>
      <p:sp>
        <p:nvSpPr>
          <p:cNvPr id="6" name="Freihandform: Form 7">
            <a:extLst>
              <a:ext uri="{FF2B5EF4-FFF2-40B4-BE49-F238E27FC236}">
                <a16:creationId xmlns:a16="http://schemas.microsoft.com/office/drawing/2014/main" id="{7957DB2B-F4FD-4807-890C-1D5FB9FEA0BE}"/>
              </a:ext>
            </a:extLst>
          </p:cNvPr>
          <p:cNvSpPr/>
          <p:nvPr userDrawn="1"/>
        </p:nvSpPr>
        <p:spPr>
          <a:xfrm>
            <a:off x="5621103" y="6223370"/>
            <a:ext cx="6570897" cy="634630"/>
          </a:xfrm>
          <a:custGeom>
            <a:avLst/>
            <a:gdLst>
              <a:gd name="connsiteX0" fmla="*/ 6570897 w 6570897"/>
              <a:gd name="connsiteY0" fmla="*/ 0 h 634630"/>
              <a:gd name="connsiteX1" fmla="*/ 6570897 w 6570897"/>
              <a:gd name="connsiteY1" fmla="*/ 634630 h 634630"/>
              <a:gd name="connsiteX2" fmla="*/ 0 w 6570897"/>
              <a:gd name="connsiteY2" fmla="*/ 634630 h 634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570897" h="634630">
                <a:moveTo>
                  <a:pt x="6570897" y="0"/>
                </a:moveTo>
                <a:lnTo>
                  <a:pt x="6570897" y="634630"/>
                </a:lnTo>
                <a:lnTo>
                  <a:pt x="0" y="634630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t">
            <a:noAutofit/>
          </a:bodyPr>
          <a:lstStyle/>
          <a:p>
            <a:pPr>
              <a:spcAft>
                <a:spcPts val="1200"/>
              </a:spcAft>
            </a:pPr>
            <a:endParaRPr lang="de-DE" sz="1400" kern="600" dirty="0">
              <a:solidFill>
                <a:srgbClr val="FFFFFF"/>
              </a:solidFill>
            </a:endParaRPr>
          </a:p>
        </p:txBody>
      </p:sp>
      <p:grpSp>
        <p:nvGrpSpPr>
          <p:cNvPr id="7" name="Group 13">
            <a:extLst>
              <a:ext uri="{FF2B5EF4-FFF2-40B4-BE49-F238E27FC236}">
                <a16:creationId xmlns:a16="http://schemas.microsoft.com/office/drawing/2014/main" id="{15861EDB-1869-475F-836A-15C14DA44195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8" name="Freeform 40">
              <a:extLst>
                <a:ext uri="{FF2B5EF4-FFF2-40B4-BE49-F238E27FC236}">
                  <a16:creationId xmlns:a16="http://schemas.microsoft.com/office/drawing/2014/main" id="{A0E011BF-9B88-49E3-8AA6-B972D7E9F06B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bg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9" name="Freeform 41">
              <a:extLst>
                <a:ext uri="{FF2B5EF4-FFF2-40B4-BE49-F238E27FC236}">
                  <a16:creationId xmlns:a16="http://schemas.microsoft.com/office/drawing/2014/main" id="{C6C2628F-067A-4F9F-AB6D-583DE89C8BE1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005673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Nur TItel  – Schrä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3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8B7D36-4FC7-458A-91CB-590EC03755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13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 userDrawn="1"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Abteilung | Verfasser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9" name="Freeform 18">
            <a:extLst>
              <a:ext uri="{FF2B5EF4-FFF2-40B4-BE49-F238E27FC236}">
                <a16:creationId xmlns:a16="http://schemas.microsoft.com/office/drawing/2014/main" id="{F9BEDD05-536F-F74A-9F35-0ED4CCA99545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27960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Text – Schrä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6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 userDrawn="1"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Abteilung | Verfasser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3" y="1196975"/>
            <a:ext cx="10658475" cy="525621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0" name="Freeform 18">
            <a:extLst>
              <a:ext uri="{FF2B5EF4-FFF2-40B4-BE49-F238E27FC236}">
                <a16:creationId xmlns:a16="http://schemas.microsoft.com/office/drawing/2014/main" id="{05FA0CE4-5D53-C84B-8B20-1E42F54E1EC2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8C5DB09-5C68-4A51-BB61-6A35A5EA54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4826872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2 Texten – Schrä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8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 userDrawn="1"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Abteilung | Verfasser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4" y="1196975"/>
            <a:ext cx="5149850" cy="525621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17B5D8E8-898B-4E41-A0C6-864F12D3D0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196975"/>
            <a:ext cx="5149850" cy="525621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1" name="Freeform 18">
            <a:extLst>
              <a:ext uri="{FF2B5EF4-FFF2-40B4-BE49-F238E27FC236}">
                <a16:creationId xmlns:a16="http://schemas.microsoft.com/office/drawing/2014/main" id="{4209D648-2061-5046-99E8-F0032076507F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46CA8B-55FE-4609-B8B1-366C2FDEAA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361581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Text und Bild (links) – Schrä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1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 userDrawn="1"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Abteilung | Verfasser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17B5D8E8-898B-4E41-A0C6-864F12D3D0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196975"/>
            <a:ext cx="5149850" cy="525621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A6C50B6-EE9C-4EAD-9302-1089F6C9374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66763" y="1196974"/>
            <a:ext cx="5149849" cy="5256213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1" name="Freeform 18">
            <a:extLst>
              <a:ext uri="{FF2B5EF4-FFF2-40B4-BE49-F238E27FC236}">
                <a16:creationId xmlns:a16="http://schemas.microsoft.com/office/drawing/2014/main" id="{634F4E53-68FE-5B4B-AFEA-A9D856AB7EE4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382014B-9E10-4003-A8A5-0A7AE084A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92579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Nur TItel 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3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9" name="Freihandform: Form 36">
            <a:extLst>
              <a:ext uri="{FF2B5EF4-FFF2-40B4-BE49-F238E27FC236}">
                <a16:creationId xmlns:a16="http://schemas.microsoft.com/office/drawing/2014/main" id="{A7F06665-152A-4CED-B3D8-729B25AB76E1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0" name="Freihandform: Form 21">
            <a:extLst>
              <a:ext uri="{FF2B5EF4-FFF2-40B4-BE49-F238E27FC236}">
                <a16:creationId xmlns:a16="http://schemas.microsoft.com/office/drawing/2014/main" id="{4BA9D35E-1141-428C-9F79-E0BDCB6AA114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" name="Freeform 18">
            <a:extLst>
              <a:ext uri="{FF2B5EF4-FFF2-40B4-BE49-F238E27FC236}">
                <a16:creationId xmlns:a16="http://schemas.microsoft.com/office/drawing/2014/main" id="{7B349B1B-53F0-B14F-9FF7-28103A8A48C0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AF1B2C0-D18A-47DE-998E-0E5C6DB85A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16746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Text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0" name="Freihandform: Form 36">
            <a:extLst>
              <a:ext uri="{FF2B5EF4-FFF2-40B4-BE49-F238E27FC236}">
                <a16:creationId xmlns:a16="http://schemas.microsoft.com/office/drawing/2014/main" id="{12AB1E37-61EF-4B21-87C8-62D9A96380FA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1" name="Freihandform: Form 21">
            <a:extLst>
              <a:ext uri="{FF2B5EF4-FFF2-40B4-BE49-F238E27FC236}">
                <a16:creationId xmlns:a16="http://schemas.microsoft.com/office/drawing/2014/main" id="{AB9A4A69-642E-4B6F-BC03-A66E21D39775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3" y="1196975"/>
            <a:ext cx="10658475" cy="410065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BA3FB8F9-523F-3F49-BA47-CE86CA467970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16F4FFE-663F-4DB8-AC2E-A5EDBB1291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960014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mit Partnerlogo //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5464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32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9" name="Group 13">
            <a:extLst>
              <a:ext uri="{FF2B5EF4-FFF2-40B4-BE49-F238E27FC236}">
                <a16:creationId xmlns:a16="http://schemas.microsoft.com/office/drawing/2014/main" id="{335203DB-BB95-45FD-92B6-E081F17DE4F9}"/>
              </a:ext>
            </a:extLst>
          </p:cNvPr>
          <p:cNvGrpSpPr/>
          <p:nvPr userDrawn="1"/>
        </p:nvGrpSpPr>
        <p:grpSpPr>
          <a:xfrm>
            <a:off x="218788" y="4130611"/>
            <a:ext cx="11754424" cy="2396064"/>
            <a:chOff x="705451" y="5067472"/>
            <a:chExt cx="11671993" cy="2379260"/>
          </a:xfrm>
        </p:grpSpPr>
        <p:grpSp>
          <p:nvGrpSpPr>
            <p:cNvPr id="30" name="Group 15">
              <a:extLst>
                <a:ext uri="{FF2B5EF4-FFF2-40B4-BE49-F238E27FC236}">
                  <a16:creationId xmlns:a16="http://schemas.microsoft.com/office/drawing/2014/main" id="{AAA4E5A4-94CD-4627-AE97-DEF771CC8485}"/>
                </a:ext>
              </a:extLst>
            </p:cNvPr>
            <p:cNvGrpSpPr/>
            <p:nvPr/>
          </p:nvGrpSpPr>
          <p:grpSpPr>
            <a:xfrm>
              <a:off x="705451" y="5067472"/>
              <a:ext cx="11671993" cy="2379260"/>
              <a:chOff x="833963" y="4724559"/>
              <a:chExt cx="13798285" cy="2812691"/>
            </a:xfrm>
          </p:grpSpPr>
          <p:sp>
            <p:nvSpPr>
              <p:cNvPr id="32" name="Rectangle 17">
                <a:extLst>
                  <a:ext uri="{FF2B5EF4-FFF2-40B4-BE49-F238E27FC236}">
                    <a16:creationId xmlns:a16="http://schemas.microsoft.com/office/drawing/2014/main" id="{49DF0C5F-5F84-4CEC-84D6-C9910C47507D}"/>
                  </a:ext>
                </a:extLst>
              </p:cNvPr>
              <p:cNvSpPr/>
              <p:nvPr/>
            </p:nvSpPr>
            <p:spPr>
              <a:xfrm>
                <a:off x="833963" y="4724559"/>
                <a:ext cx="13276469" cy="2812690"/>
              </a:xfrm>
              <a:prstGeom prst="rect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egular"/>
                  <a:ea typeface="+mn-ea"/>
                  <a:cs typeface="+mn-cs"/>
                </a:endParaRPr>
              </a:p>
            </p:txBody>
          </p:sp>
          <p:sp>
            <p:nvSpPr>
              <p:cNvPr id="33" name="Rectangle 18">
                <a:extLst>
                  <a:ext uri="{FF2B5EF4-FFF2-40B4-BE49-F238E27FC236}">
                    <a16:creationId xmlns:a16="http://schemas.microsoft.com/office/drawing/2014/main" id="{5C7CF1D4-9F77-4732-A3CE-9212756F6675}"/>
                  </a:ext>
                </a:extLst>
              </p:cNvPr>
              <p:cNvSpPr/>
              <p:nvPr/>
            </p:nvSpPr>
            <p:spPr>
              <a:xfrm>
                <a:off x="10883494" y="4724560"/>
                <a:ext cx="3748754" cy="2812690"/>
              </a:xfrm>
              <a:prstGeom prst="rect">
                <a:avLst/>
              </a:prstGeom>
              <a:solidFill>
                <a:schemeClr val="tx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egular"/>
                  <a:ea typeface="+mn-ea"/>
                  <a:cs typeface="+mn-cs"/>
                </a:endParaRPr>
              </a:p>
            </p:txBody>
          </p:sp>
        </p:grpSp>
        <p:sp>
          <p:nvSpPr>
            <p:cNvPr id="31" name="Freeform 38">
              <a:extLst>
                <a:ext uri="{FF2B5EF4-FFF2-40B4-BE49-F238E27FC236}">
                  <a16:creationId xmlns:a16="http://schemas.microsoft.com/office/drawing/2014/main" id="{1B2B8562-DFB8-4D2A-A47E-0EBC958016A1}"/>
                </a:ext>
              </a:extLst>
            </p:cNvPr>
            <p:cNvSpPr/>
            <p:nvPr/>
          </p:nvSpPr>
          <p:spPr>
            <a:xfrm rot="10800000">
              <a:off x="7015354" y="5067473"/>
              <a:ext cx="3171078" cy="2379259"/>
            </a:xfrm>
            <a:custGeom>
              <a:avLst/>
              <a:gdLst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877803 w 2327681"/>
                <a:gd name="connsiteY2" fmla="*/ 1443354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7681" h="1443354">
                  <a:moveTo>
                    <a:pt x="0" y="0"/>
                  </a:moveTo>
                  <a:lnTo>
                    <a:pt x="2327681" y="0"/>
                  </a:lnTo>
                  <a:lnTo>
                    <a:pt x="877803" y="1443354"/>
                  </a:lnTo>
                  <a:lnTo>
                    <a:pt x="0" y="14433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Regular"/>
                <a:ea typeface="+mn-ea"/>
                <a:cs typeface="+mn-cs"/>
              </a:endParaRPr>
            </a:p>
          </p:txBody>
        </p:sp>
      </p:grpSp>
      <p:grpSp>
        <p:nvGrpSpPr>
          <p:cNvPr id="15" name="Group 13">
            <a:extLst>
              <a:ext uri="{FF2B5EF4-FFF2-40B4-BE49-F238E27FC236}">
                <a16:creationId xmlns:a16="http://schemas.microsoft.com/office/drawing/2014/main" id="{87F5A82D-EEDB-48C0-9382-EE0628DDB34F}"/>
              </a:ext>
            </a:extLst>
          </p:cNvPr>
          <p:cNvGrpSpPr/>
          <p:nvPr userDrawn="1"/>
        </p:nvGrpSpPr>
        <p:grpSpPr>
          <a:xfrm>
            <a:off x="359290" y="4130611"/>
            <a:ext cx="11613922" cy="2396064"/>
            <a:chOff x="844968" y="5067472"/>
            <a:chExt cx="11532476" cy="2379260"/>
          </a:xfrm>
        </p:grpSpPr>
        <p:grpSp>
          <p:nvGrpSpPr>
            <p:cNvPr id="22" name="Group 15">
              <a:extLst>
                <a:ext uri="{FF2B5EF4-FFF2-40B4-BE49-F238E27FC236}">
                  <a16:creationId xmlns:a16="http://schemas.microsoft.com/office/drawing/2014/main" id="{0C85F3B6-DE09-41F2-92AB-4AF818562994}"/>
                </a:ext>
              </a:extLst>
            </p:cNvPr>
            <p:cNvGrpSpPr/>
            <p:nvPr/>
          </p:nvGrpSpPr>
          <p:grpSpPr>
            <a:xfrm>
              <a:off x="844968" y="5067472"/>
              <a:ext cx="11532476" cy="2379260"/>
              <a:chOff x="998896" y="4724559"/>
              <a:chExt cx="13633352" cy="2812691"/>
            </a:xfrm>
          </p:grpSpPr>
          <p:sp>
            <p:nvSpPr>
              <p:cNvPr id="27" name="Rectangle 17">
                <a:extLst>
                  <a:ext uri="{FF2B5EF4-FFF2-40B4-BE49-F238E27FC236}">
                    <a16:creationId xmlns:a16="http://schemas.microsoft.com/office/drawing/2014/main" id="{9D1197FA-2349-4878-8140-4CBC5EC9E534}"/>
                  </a:ext>
                </a:extLst>
              </p:cNvPr>
              <p:cNvSpPr/>
              <p:nvPr/>
            </p:nvSpPr>
            <p:spPr>
              <a:xfrm>
                <a:off x="998896" y="4724559"/>
                <a:ext cx="13111536" cy="2812690"/>
              </a:xfrm>
              <a:prstGeom prst="rect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egular"/>
                  <a:ea typeface="+mn-ea"/>
                  <a:cs typeface="+mn-cs"/>
                </a:endParaRPr>
              </a:p>
            </p:txBody>
          </p:sp>
          <p:sp>
            <p:nvSpPr>
              <p:cNvPr id="28" name="Rectangle 18">
                <a:extLst>
                  <a:ext uri="{FF2B5EF4-FFF2-40B4-BE49-F238E27FC236}">
                    <a16:creationId xmlns:a16="http://schemas.microsoft.com/office/drawing/2014/main" id="{5CD863F0-DA7E-4ED3-9AFB-3FC439CFDF59}"/>
                  </a:ext>
                </a:extLst>
              </p:cNvPr>
              <p:cNvSpPr/>
              <p:nvPr/>
            </p:nvSpPr>
            <p:spPr>
              <a:xfrm>
                <a:off x="10883494" y="4724560"/>
                <a:ext cx="3748754" cy="2812690"/>
              </a:xfrm>
              <a:prstGeom prst="rect">
                <a:avLst/>
              </a:prstGeom>
              <a:solidFill>
                <a:schemeClr val="tx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Regular"/>
                  <a:ea typeface="+mn-ea"/>
                  <a:cs typeface="+mn-cs"/>
                </a:endParaRPr>
              </a:p>
            </p:txBody>
          </p:sp>
        </p:grpSp>
        <p:sp>
          <p:nvSpPr>
            <p:cNvPr id="24" name="Freeform 38">
              <a:extLst>
                <a:ext uri="{FF2B5EF4-FFF2-40B4-BE49-F238E27FC236}">
                  <a16:creationId xmlns:a16="http://schemas.microsoft.com/office/drawing/2014/main" id="{725F7311-C3D1-45E1-B266-854264697917}"/>
                </a:ext>
              </a:extLst>
            </p:cNvPr>
            <p:cNvSpPr/>
            <p:nvPr/>
          </p:nvSpPr>
          <p:spPr>
            <a:xfrm rot="10800000">
              <a:off x="7015354" y="5067473"/>
              <a:ext cx="3171078" cy="2379259"/>
            </a:xfrm>
            <a:custGeom>
              <a:avLst/>
              <a:gdLst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877803 w 2327681"/>
                <a:gd name="connsiteY2" fmla="*/ 1443354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7681" h="1443354">
                  <a:moveTo>
                    <a:pt x="0" y="0"/>
                  </a:moveTo>
                  <a:lnTo>
                    <a:pt x="2327681" y="0"/>
                  </a:lnTo>
                  <a:lnTo>
                    <a:pt x="877803" y="1443354"/>
                  </a:lnTo>
                  <a:lnTo>
                    <a:pt x="0" y="14433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Regular"/>
                <a:ea typeface="+mn-ea"/>
                <a:cs typeface="+mn-cs"/>
              </a:endParaRPr>
            </a:p>
          </p:txBody>
        </p:sp>
      </p:grp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B74C0010-5739-4C1C-9594-DB2D0795E53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53291 w 12192000"/>
              <a:gd name="connsiteY0" fmla="*/ 4130612 h 6858000"/>
              <a:gd name="connsiteX1" fmla="*/ 353291 w 12192000"/>
              <a:gd name="connsiteY1" fmla="*/ 6524625 h 6858000"/>
              <a:gd name="connsiteX2" fmla="*/ 11838710 w 12192000"/>
              <a:gd name="connsiteY2" fmla="*/ 6524625 h 6858000"/>
              <a:gd name="connsiteX3" fmla="*/ 11838710 w 12192000"/>
              <a:gd name="connsiteY3" fmla="*/ 4130612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53291" y="4130612"/>
                </a:moveTo>
                <a:lnTo>
                  <a:pt x="353291" y="6524625"/>
                </a:lnTo>
                <a:lnTo>
                  <a:pt x="11838710" y="6524625"/>
                </a:lnTo>
                <a:lnTo>
                  <a:pt x="11838710" y="413061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20" name="Freeform 41">
            <a:extLst>
              <a:ext uri="{FF2B5EF4-FFF2-40B4-BE49-F238E27FC236}">
                <a16:creationId xmlns:a16="http://schemas.microsoft.com/office/drawing/2014/main" id="{1E5B25EA-22B1-4940-A934-A419BAD5BEFE}"/>
              </a:ext>
            </a:extLst>
          </p:cNvPr>
          <p:cNvSpPr/>
          <p:nvPr userDrawn="1"/>
        </p:nvSpPr>
        <p:spPr>
          <a:xfrm>
            <a:off x="9034179" y="4306161"/>
            <a:ext cx="2639923" cy="2188975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21" name="Grafik 7">
            <a:extLst>
              <a:ext uri="{FF2B5EF4-FFF2-40B4-BE49-F238E27FC236}">
                <a16:creationId xmlns:a16="http://schemas.microsoft.com/office/drawing/2014/main" id="{B347AC67-6751-45BD-920D-C7678E7227D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2919" y="4670750"/>
            <a:ext cx="3007747" cy="503746"/>
          </a:xfrm>
          <a:prstGeom prst="rect">
            <a:avLst/>
          </a:prstGeom>
        </p:spPr>
      </p:pic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135A0093-C8EA-44AF-B4B0-FF9BBF7FEE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4713" y="4589979"/>
            <a:ext cx="6607175" cy="1477328"/>
          </a:xfrm>
        </p:spPr>
        <p:txBody>
          <a:bodyPr anchor="ctr">
            <a:noAutofit/>
          </a:bodyPr>
          <a:lstStyle>
            <a:lvl1pPr marL="0" indent="0">
              <a:buNone/>
              <a:defRPr sz="3200" kern="100" spc="0" baseline="0">
                <a:solidFill>
                  <a:schemeClr val="bg1"/>
                </a:solidFill>
              </a:defRPr>
            </a:lvl1pPr>
            <a:lvl2pPr marL="358775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6C0C2256-F31B-4578-8FDF-D88F94784B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582025" y="5438409"/>
            <a:ext cx="2206625" cy="552450"/>
          </a:xfrm>
          <a:custGeom>
            <a:avLst/>
            <a:gdLst>
              <a:gd name="connsiteX0" fmla="*/ 92077 w 2206625"/>
              <a:gd name="connsiteY0" fmla="*/ 0 h 552450"/>
              <a:gd name="connsiteX1" fmla="*/ 2114548 w 2206625"/>
              <a:gd name="connsiteY1" fmla="*/ 0 h 552450"/>
              <a:gd name="connsiteX2" fmla="*/ 2206625 w 2206625"/>
              <a:gd name="connsiteY2" fmla="*/ 92077 h 552450"/>
              <a:gd name="connsiteX3" fmla="*/ 2206625 w 2206625"/>
              <a:gd name="connsiteY3" fmla="*/ 460373 h 552450"/>
              <a:gd name="connsiteX4" fmla="*/ 2114548 w 2206625"/>
              <a:gd name="connsiteY4" fmla="*/ 552450 h 552450"/>
              <a:gd name="connsiteX5" fmla="*/ 92077 w 2206625"/>
              <a:gd name="connsiteY5" fmla="*/ 552450 h 552450"/>
              <a:gd name="connsiteX6" fmla="*/ 0 w 2206625"/>
              <a:gd name="connsiteY6" fmla="*/ 460373 h 552450"/>
              <a:gd name="connsiteX7" fmla="*/ 0 w 2206625"/>
              <a:gd name="connsiteY7" fmla="*/ 92077 h 552450"/>
              <a:gd name="connsiteX8" fmla="*/ 92077 w 2206625"/>
              <a:gd name="connsiteY8" fmla="*/ 0 h 552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06625" h="552450">
                <a:moveTo>
                  <a:pt x="92077" y="0"/>
                </a:moveTo>
                <a:lnTo>
                  <a:pt x="2114548" y="0"/>
                </a:lnTo>
                <a:cubicBezTo>
                  <a:pt x="2165401" y="0"/>
                  <a:pt x="2206625" y="41224"/>
                  <a:pt x="2206625" y="92077"/>
                </a:cubicBezTo>
                <a:lnTo>
                  <a:pt x="2206625" y="460373"/>
                </a:lnTo>
                <a:cubicBezTo>
                  <a:pt x="2206625" y="511226"/>
                  <a:pt x="2165401" y="552450"/>
                  <a:pt x="2114548" y="552450"/>
                </a:cubicBezTo>
                <a:lnTo>
                  <a:pt x="92077" y="552450"/>
                </a:lnTo>
                <a:cubicBezTo>
                  <a:pt x="41224" y="552450"/>
                  <a:pt x="0" y="511226"/>
                  <a:pt x="0" y="460373"/>
                </a:cubicBezTo>
                <a:lnTo>
                  <a:pt x="0" y="92077"/>
                </a:lnTo>
                <a:cubicBezTo>
                  <a:pt x="0" y="41224"/>
                  <a:pt x="41224" y="0"/>
                  <a:pt x="92077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07980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 userDrawn="1">
          <p15:clr>
            <a:srgbClr val="A4A3A4"/>
          </p15:clr>
        </p15:guide>
        <p15:guide id="2" pos="483" userDrawn="1">
          <p15:clr>
            <a:srgbClr val="A4A3A4"/>
          </p15:clr>
        </p15:guide>
        <p15:guide id="4" orient="horz" pos="754" userDrawn="1">
          <p15:clr>
            <a:srgbClr val="A4A3A4"/>
          </p15:clr>
        </p15:guide>
        <p15:guide id="5" orient="horz" pos="640" userDrawn="1">
          <p15:clr>
            <a:srgbClr val="A4A3A4"/>
          </p15:clr>
        </p15:guide>
        <p15:guide id="6" orient="horz" pos="4065" userDrawn="1">
          <p15:clr>
            <a:srgbClr val="A4A3A4"/>
          </p15:clr>
        </p15:guide>
        <p15:guide id="7" pos="7197" userDrawn="1">
          <p15:clr>
            <a:srgbClr val="A4A3A4"/>
          </p15:clr>
        </p15:guide>
        <p15:guide id="8" orient="horz" pos="4110" userDrawn="1">
          <p15:clr>
            <a:srgbClr val="F26B43"/>
          </p15:clr>
        </p15:guide>
        <p15:guide id="9" pos="226" userDrawn="1">
          <p15:clr>
            <a:srgbClr val="F26B43"/>
          </p15:clr>
        </p15:guide>
        <p15:guide id="10" pos="7452" userDrawn="1">
          <p15:clr>
            <a:srgbClr val="F26B43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2 Texten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8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1" name="Freihandform: Form 36">
            <a:extLst>
              <a:ext uri="{FF2B5EF4-FFF2-40B4-BE49-F238E27FC236}">
                <a16:creationId xmlns:a16="http://schemas.microsoft.com/office/drawing/2014/main" id="{32602135-06AE-406F-B9AE-A5B574514972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8" name="Freihandform: Form 21">
            <a:extLst>
              <a:ext uri="{FF2B5EF4-FFF2-40B4-BE49-F238E27FC236}">
                <a16:creationId xmlns:a16="http://schemas.microsoft.com/office/drawing/2014/main" id="{91494A3C-5CE0-4053-9C1C-2A08D165B0C0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4" y="1196976"/>
            <a:ext cx="5149850" cy="410064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17B5D8E8-898B-4E41-A0C6-864F12D3D0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196976"/>
            <a:ext cx="5149850" cy="410065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96E79C0D-9CB3-5241-8E38-AA450520B8C8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D5EEE30-6705-44A0-891F-536BF776F2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83835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333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Text und Bild (links)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0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1" name="Freihandform: Form 36">
            <a:extLst>
              <a:ext uri="{FF2B5EF4-FFF2-40B4-BE49-F238E27FC236}">
                <a16:creationId xmlns:a16="http://schemas.microsoft.com/office/drawing/2014/main" id="{32602135-06AE-406F-B9AE-A5B574514972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8" name="Freihandform: Form 21">
            <a:extLst>
              <a:ext uri="{FF2B5EF4-FFF2-40B4-BE49-F238E27FC236}">
                <a16:creationId xmlns:a16="http://schemas.microsoft.com/office/drawing/2014/main" id="{91494A3C-5CE0-4053-9C1C-2A08D165B0C0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17B5D8E8-898B-4E41-A0C6-864F12D3D0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196976"/>
            <a:ext cx="5149850" cy="410064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1E1B4485-1F72-42D7-ACC3-9EDC24543BB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66763" y="1196974"/>
            <a:ext cx="5149849" cy="4965818"/>
          </a:xfrm>
          <a:custGeom>
            <a:avLst/>
            <a:gdLst>
              <a:gd name="connsiteX0" fmla="*/ 0 w 5149849"/>
              <a:gd name="connsiteY0" fmla="*/ 0 h 4965818"/>
              <a:gd name="connsiteX1" fmla="*/ 5149849 w 5149849"/>
              <a:gd name="connsiteY1" fmla="*/ 0 h 4965818"/>
              <a:gd name="connsiteX2" fmla="*/ 5149849 w 5149849"/>
              <a:gd name="connsiteY2" fmla="*/ 4468436 h 4965818"/>
              <a:gd name="connsiteX3" fmla="*/ 0 w 5149849"/>
              <a:gd name="connsiteY3" fmla="*/ 4965818 h 4965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49849" h="4965818">
                <a:moveTo>
                  <a:pt x="0" y="0"/>
                </a:moveTo>
                <a:lnTo>
                  <a:pt x="5149849" y="0"/>
                </a:lnTo>
                <a:lnTo>
                  <a:pt x="5149849" y="4468436"/>
                </a:lnTo>
                <a:lnTo>
                  <a:pt x="0" y="4965818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C13D84C5-27C9-8244-AE4C-B1FF9BA7BDD8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4D003A0-D044-4DCD-B55E-66422C600D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188208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3566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Text und Bild (rechts)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3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1" name="Freihandform: Form 36">
            <a:extLst>
              <a:ext uri="{FF2B5EF4-FFF2-40B4-BE49-F238E27FC236}">
                <a16:creationId xmlns:a16="http://schemas.microsoft.com/office/drawing/2014/main" id="{32602135-06AE-406F-B9AE-A5B574514972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8" name="Freihandform: Form 21">
            <a:extLst>
              <a:ext uri="{FF2B5EF4-FFF2-40B4-BE49-F238E27FC236}">
                <a16:creationId xmlns:a16="http://schemas.microsoft.com/office/drawing/2014/main" id="{91494A3C-5CE0-4053-9C1C-2A08D165B0C0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A7CB5D3-8679-4C40-98D0-C4A69CB342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4" y="1196976"/>
            <a:ext cx="5149850" cy="446405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1D8CB5B5-C1E3-4EDF-9F8A-AF64BDF3632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75389" y="1196975"/>
            <a:ext cx="5149849" cy="4439485"/>
          </a:xfrm>
          <a:custGeom>
            <a:avLst/>
            <a:gdLst>
              <a:gd name="connsiteX0" fmla="*/ 0 w 5149849"/>
              <a:gd name="connsiteY0" fmla="*/ 0 h 4439485"/>
              <a:gd name="connsiteX1" fmla="*/ 5149849 w 5149849"/>
              <a:gd name="connsiteY1" fmla="*/ 0 h 4439485"/>
              <a:gd name="connsiteX2" fmla="*/ 5149849 w 5149849"/>
              <a:gd name="connsiteY2" fmla="*/ 3942103 h 4439485"/>
              <a:gd name="connsiteX3" fmla="*/ 0 w 5149849"/>
              <a:gd name="connsiteY3" fmla="*/ 4439485 h 4439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49849" h="4439485">
                <a:moveTo>
                  <a:pt x="0" y="0"/>
                </a:moveTo>
                <a:lnTo>
                  <a:pt x="5149849" y="0"/>
                </a:lnTo>
                <a:lnTo>
                  <a:pt x="5149849" y="3942103"/>
                </a:lnTo>
                <a:lnTo>
                  <a:pt x="0" y="443948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F5D9D0D2-7EDA-4947-AB3D-52786C15FACA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BB85738-5B86-46A3-A123-248D01111F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44223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3589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Text und Bild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5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1D09B2C-D8C1-41B9-BF6B-D36D9023B68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3" y="1196976"/>
            <a:ext cx="10658475" cy="35488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1" name="Freeform 18">
            <a:extLst>
              <a:ext uri="{FF2B5EF4-FFF2-40B4-BE49-F238E27FC236}">
                <a16:creationId xmlns:a16="http://schemas.microsoft.com/office/drawing/2014/main" id="{19927C1F-62FD-0A46-8A61-573819706D54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5AF321D-0B4D-4551-BEC7-9EEC195A0E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17670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ÜN // Nur TItel – Schrä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7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 userDrawn="1"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Abteilung | Verfasser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9" name="Freeform 18">
            <a:extLst>
              <a:ext uri="{FF2B5EF4-FFF2-40B4-BE49-F238E27FC236}">
                <a16:creationId xmlns:a16="http://schemas.microsoft.com/office/drawing/2014/main" id="{8BE06C8C-7049-2545-905A-C16E8F707408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DF9595B-11B3-4259-84E9-EA0F02B6A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592937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ÜN // Titel mit Text – Schrä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0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 userDrawn="1"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Abteilung | Verfasser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3" y="1196975"/>
            <a:ext cx="10658475" cy="5256213"/>
          </a:xfrm>
        </p:spPr>
        <p:txBody>
          <a:bodyPr/>
          <a:lstStyle>
            <a:lvl1pPr>
              <a:defRPr spc="0"/>
            </a:lvl1pPr>
            <a:lvl2pPr>
              <a:defRPr spc="0"/>
            </a:lvl2pPr>
            <a:lvl3pPr>
              <a:defRPr spc="0"/>
            </a:lvl3pPr>
            <a:lvl4pPr>
              <a:defRPr spc="0"/>
            </a:lvl4pPr>
            <a:lvl5pPr>
              <a:defRPr spc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Freeform 18">
            <a:extLst>
              <a:ext uri="{FF2B5EF4-FFF2-40B4-BE49-F238E27FC236}">
                <a16:creationId xmlns:a16="http://schemas.microsoft.com/office/drawing/2014/main" id="{6580AE2E-E7A4-8147-9D10-46D4FED9C736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D37B052-2223-4CD4-B48D-85AE3175C6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1625759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ÜN // Titel mit 2 Texten – Schrä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2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 userDrawn="1"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Abteilung | Verfasser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4" y="1196975"/>
            <a:ext cx="5149850" cy="525621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17B5D8E8-898B-4E41-A0C6-864F12D3D0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196975"/>
            <a:ext cx="5149850" cy="525621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1" name="Freeform 18">
            <a:extLst>
              <a:ext uri="{FF2B5EF4-FFF2-40B4-BE49-F238E27FC236}">
                <a16:creationId xmlns:a16="http://schemas.microsoft.com/office/drawing/2014/main" id="{95936665-1D34-4541-BAA1-D13E54A42DF7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4BE0294-C1AD-463F-9932-14FF898FDD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0254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ÜN // Nur TItel 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5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9" name="Freihandform: Form 36">
            <a:extLst>
              <a:ext uri="{FF2B5EF4-FFF2-40B4-BE49-F238E27FC236}">
                <a16:creationId xmlns:a16="http://schemas.microsoft.com/office/drawing/2014/main" id="{A7F06665-152A-4CED-B3D8-729B25AB76E1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0" name="Freihandform: Form 21">
            <a:extLst>
              <a:ext uri="{FF2B5EF4-FFF2-40B4-BE49-F238E27FC236}">
                <a16:creationId xmlns:a16="http://schemas.microsoft.com/office/drawing/2014/main" id="{4BA9D35E-1141-428C-9F79-E0BDCB6AA114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" name="Freeform 18">
            <a:extLst>
              <a:ext uri="{FF2B5EF4-FFF2-40B4-BE49-F238E27FC236}">
                <a16:creationId xmlns:a16="http://schemas.microsoft.com/office/drawing/2014/main" id="{FF28E917-7CDB-B047-85A6-D68875D6D2BB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5D3F80B-02F8-465D-BCDE-DF5E4A68D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57398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ÜN // Titel mit Text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7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0" name="Freihandform: Form 36">
            <a:extLst>
              <a:ext uri="{FF2B5EF4-FFF2-40B4-BE49-F238E27FC236}">
                <a16:creationId xmlns:a16="http://schemas.microsoft.com/office/drawing/2014/main" id="{12AB1E37-61EF-4B21-87C8-62D9A96380FA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1" name="Freihandform: Form 21">
            <a:extLst>
              <a:ext uri="{FF2B5EF4-FFF2-40B4-BE49-F238E27FC236}">
                <a16:creationId xmlns:a16="http://schemas.microsoft.com/office/drawing/2014/main" id="{AB9A4A69-642E-4B6F-BC03-A66E21D39775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3" y="1196976"/>
            <a:ext cx="10658475" cy="4100650"/>
          </a:xfrm>
        </p:spPr>
        <p:txBody>
          <a:bodyPr/>
          <a:lstStyle>
            <a:lvl1pPr>
              <a:defRPr spc="0"/>
            </a:lvl1pPr>
            <a:lvl2pPr>
              <a:defRPr spc="0"/>
            </a:lvl2pPr>
            <a:lvl3pPr>
              <a:defRPr spc="0"/>
            </a:lvl3pPr>
            <a:lvl4pPr>
              <a:defRPr spc="0"/>
            </a:lvl4pPr>
            <a:lvl5pPr>
              <a:defRPr spc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A9207D9E-A8D2-D441-8F1A-99EA8AC89D59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A46B979-61EF-4DDE-850D-A9C522E487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766897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ÜN // Titel mit 2 Texten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" name="Freihandform: Form 36">
            <a:extLst>
              <a:ext uri="{FF2B5EF4-FFF2-40B4-BE49-F238E27FC236}">
                <a16:creationId xmlns:a16="http://schemas.microsoft.com/office/drawing/2014/main" id="{32602135-06AE-406F-B9AE-A5B574514972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8" name="Freihandform: Form 21">
            <a:extLst>
              <a:ext uri="{FF2B5EF4-FFF2-40B4-BE49-F238E27FC236}">
                <a16:creationId xmlns:a16="http://schemas.microsoft.com/office/drawing/2014/main" id="{91494A3C-5CE0-4053-9C1C-2A08D165B0C0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4" y="1196975"/>
            <a:ext cx="5149850" cy="410033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17B5D8E8-898B-4E41-A0C6-864F12D3D0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196976"/>
            <a:ext cx="5149850" cy="410065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9EBD5B88-9E28-0843-BBBC-03C3B8F7928B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B3124B4-073E-4AA4-A8AF-077A24B5A0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6919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333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folie // Bilplatzhalter mit Text (1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662DB07-81B8-4BDA-8345-7D0D9D3C5C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9011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0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7AFB56EF-E792-40E5-AEB2-936FD2D0D4D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661991 w 12192000"/>
              <a:gd name="connsiteY0" fmla="*/ 339114 h 6858000"/>
              <a:gd name="connsiteX1" fmla="*/ 1 w 12192000"/>
              <a:gd name="connsiteY1" fmla="*/ 410557 h 6858000"/>
              <a:gd name="connsiteX2" fmla="*/ 1 w 12192000"/>
              <a:gd name="connsiteY2" fmla="*/ 421468 h 6858000"/>
              <a:gd name="connsiteX3" fmla="*/ 1 w 12192000"/>
              <a:gd name="connsiteY3" fmla="*/ 426812 h 6858000"/>
              <a:gd name="connsiteX4" fmla="*/ 1 w 12192000"/>
              <a:gd name="connsiteY4" fmla="*/ 445011 h 6858000"/>
              <a:gd name="connsiteX5" fmla="*/ 1 w 12192000"/>
              <a:gd name="connsiteY5" fmla="*/ 465201 h 6858000"/>
              <a:gd name="connsiteX6" fmla="*/ 1 w 12192000"/>
              <a:gd name="connsiteY6" fmla="*/ 470545 h 6858000"/>
              <a:gd name="connsiteX7" fmla="*/ 1 w 12192000"/>
              <a:gd name="connsiteY7" fmla="*/ 490176 h 6858000"/>
              <a:gd name="connsiteX8" fmla="*/ 1 w 12192000"/>
              <a:gd name="connsiteY8" fmla="*/ 510367 h 6858000"/>
              <a:gd name="connsiteX9" fmla="*/ 1 w 12192000"/>
              <a:gd name="connsiteY9" fmla="*/ 515710 h 6858000"/>
              <a:gd name="connsiteX10" fmla="*/ 1 w 12192000"/>
              <a:gd name="connsiteY10" fmla="*/ 523515 h 6858000"/>
              <a:gd name="connsiteX11" fmla="*/ 1 w 12192000"/>
              <a:gd name="connsiteY11" fmla="*/ 533909 h 6858000"/>
              <a:gd name="connsiteX12" fmla="*/ 1 w 12192000"/>
              <a:gd name="connsiteY12" fmla="*/ 543706 h 6858000"/>
              <a:gd name="connsiteX13" fmla="*/ 1 w 12192000"/>
              <a:gd name="connsiteY13" fmla="*/ 549050 h 6858000"/>
              <a:gd name="connsiteX14" fmla="*/ 1 w 12192000"/>
              <a:gd name="connsiteY14" fmla="*/ 554100 h 6858000"/>
              <a:gd name="connsiteX15" fmla="*/ 1 w 12192000"/>
              <a:gd name="connsiteY15" fmla="*/ 559443 h 6858000"/>
              <a:gd name="connsiteX16" fmla="*/ 1 w 12192000"/>
              <a:gd name="connsiteY16" fmla="*/ 567248 h 6858000"/>
              <a:gd name="connsiteX17" fmla="*/ 1 w 12192000"/>
              <a:gd name="connsiteY17" fmla="*/ 587439 h 6858000"/>
              <a:gd name="connsiteX18" fmla="*/ 1 w 12192000"/>
              <a:gd name="connsiteY18" fmla="*/ 592783 h 6858000"/>
              <a:gd name="connsiteX19" fmla="*/ 1 w 12192000"/>
              <a:gd name="connsiteY19" fmla="*/ 612414 h 6858000"/>
              <a:gd name="connsiteX20" fmla="*/ 1 w 12192000"/>
              <a:gd name="connsiteY20" fmla="*/ 632604 h 6858000"/>
              <a:gd name="connsiteX21" fmla="*/ 1 w 12192000"/>
              <a:gd name="connsiteY21" fmla="*/ 637948 h 6858000"/>
              <a:gd name="connsiteX22" fmla="*/ 1 w 12192000"/>
              <a:gd name="connsiteY22" fmla="*/ 656147 h 6858000"/>
              <a:gd name="connsiteX23" fmla="*/ 1 w 12192000"/>
              <a:gd name="connsiteY23" fmla="*/ 676337 h 6858000"/>
              <a:gd name="connsiteX24" fmla="*/ 1 w 12192000"/>
              <a:gd name="connsiteY24" fmla="*/ 681681 h 6858000"/>
              <a:gd name="connsiteX25" fmla="*/ 1 w 12192000"/>
              <a:gd name="connsiteY25" fmla="*/ 744823 h 6858000"/>
              <a:gd name="connsiteX26" fmla="*/ 1 w 12192000"/>
              <a:gd name="connsiteY26" fmla="*/ 744923 h 6858000"/>
              <a:gd name="connsiteX27" fmla="*/ 1 w 12192000"/>
              <a:gd name="connsiteY27" fmla="*/ 788556 h 6858000"/>
              <a:gd name="connsiteX28" fmla="*/ 1 w 12192000"/>
              <a:gd name="connsiteY28" fmla="*/ 788656 h 6858000"/>
              <a:gd name="connsiteX29" fmla="*/ 1 w 12192000"/>
              <a:gd name="connsiteY29" fmla="*/ 806425 h 6858000"/>
              <a:gd name="connsiteX30" fmla="*/ 1 w 12192000"/>
              <a:gd name="connsiteY30" fmla="*/ 826616 h 6858000"/>
              <a:gd name="connsiteX31" fmla="*/ 1 w 12192000"/>
              <a:gd name="connsiteY31" fmla="*/ 833721 h 6858000"/>
              <a:gd name="connsiteX32" fmla="*/ 1 w 12192000"/>
              <a:gd name="connsiteY32" fmla="*/ 833821 h 6858000"/>
              <a:gd name="connsiteX33" fmla="*/ 1 w 12192000"/>
              <a:gd name="connsiteY33" fmla="*/ 850158 h 6858000"/>
              <a:gd name="connsiteX34" fmla="*/ 1 w 12192000"/>
              <a:gd name="connsiteY34" fmla="*/ 867061 h 6858000"/>
              <a:gd name="connsiteX35" fmla="*/ 1 w 12192000"/>
              <a:gd name="connsiteY35" fmla="*/ 867160 h 6858000"/>
              <a:gd name="connsiteX36" fmla="*/ 1 w 12192000"/>
              <a:gd name="connsiteY36" fmla="*/ 870349 h 6858000"/>
              <a:gd name="connsiteX37" fmla="*/ 1 w 12192000"/>
              <a:gd name="connsiteY37" fmla="*/ 877454 h 6858000"/>
              <a:gd name="connsiteX38" fmla="*/ 1 w 12192000"/>
              <a:gd name="connsiteY38" fmla="*/ 877554 h 6858000"/>
              <a:gd name="connsiteX39" fmla="*/ 1 w 12192000"/>
              <a:gd name="connsiteY39" fmla="*/ 895324 h 6858000"/>
              <a:gd name="connsiteX40" fmla="*/ 1 w 12192000"/>
              <a:gd name="connsiteY40" fmla="*/ 910794 h 6858000"/>
              <a:gd name="connsiteX41" fmla="*/ 1 w 12192000"/>
              <a:gd name="connsiteY41" fmla="*/ 910893 h 6858000"/>
              <a:gd name="connsiteX42" fmla="*/ 1 w 12192000"/>
              <a:gd name="connsiteY42" fmla="*/ 915514 h 6858000"/>
              <a:gd name="connsiteX43" fmla="*/ 1 w 12192000"/>
              <a:gd name="connsiteY43" fmla="*/ 928663 h 6858000"/>
              <a:gd name="connsiteX44" fmla="*/ 1 w 12192000"/>
              <a:gd name="connsiteY44" fmla="*/ 939057 h 6858000"/>
              <a:gd name="connsiteX45" fmla="*/ 1 w 12192000"/>
              <a:gd name="connsiteY45" fmla="*/ 948854 h 6858000"/>
              <a:gd name="connsiteX46" fmla="*/ 1 w 12192000"/>
              <a:gd name="connsiteY46" fmla="*/ 955959 h 6858000"/>
              <a:gd name="connsiteX47" fmla="*/ 1 w 12192000"/>
              <a:gd name="connsiteY47" fmla="*/ 956059 h 6858000"/>
              <a:gd name="connsiteX48" fmla="*/ 1 w 12192000"/>
              <a:gd name="connsiteY48" fmla="*/ 959247 h 6858000"/>
              <a:gd name="connsiteX49" fmla="*/ 1 w 12192000"/>
              <a:gd name="connsiteY49" fmla="*/ 972396 h 6858000"/>
              <a:gd name="connsiteX50" fmla="*/ 1 w 12192000"/>
              <a:gd name="connsiteY50" fmla="*/ 992587 h 6858000"/>
              <a:gd name="connsiteX51" fmla="*/ 1 w 12192000"/>
              <a:gd name="connsiteY51" fmla="*/ 999692 h 6858000"/>
              <a:gd name="connsiteX52" fmla="*/ 1 w 12192000"/>
              <a:gd name="connsiteY52" fmla="*/ 999792 h 6858000"/>
              <a:gd name="connsiteX53" fmla="*/ 1 w 12192000"/>
              <a:gd name="connsiteY53" fmla="*/ 1017561 h 6858000"/>
              <a:gd name="connsiteX54" fmla="*/ 1 w 12192000"/>
              <a:gd name="connsiteY54" fmla="*/ 1037752 h 6858000"/>
              <a:gd name="connsiteX55" fmla="*/ 1 w 12192000"/>
              <a:gd name="connsiteY55" fmla="*/ 1061294 h 6858000"/>
              <a:gd name="connsiteX56" fmla="*/ 1 w 12192000"/>
              <a:gd name="connsiteY56" fmla="*/ 1081485 h 6858000"/>
              <a:gd name="connsiteX57" fmla="*/ 661991 w 12192000"/>
              <a:gd name="connsiteY57" fmla="*/ 1010042 h 6858000"/>
              <a:gd name="connsiteX58" fmla="*/ 661991 w 12192000"/>
              <a:gd name="connsiteY58" fmla="*/ 999792 h 6858000"/>
              <a:gd name="connsiteX59" fmla="*/ 661991 w 12192000"/>
              <a:gd name="connsiteY59" fmla="*/ 999692 h 6858000"/>
              <a:gd name="connsiteX60" fmla="*/ 661991 w 12192000"/>
              <a:gd name="connsiteY60" fmla="*/ 989851 h 6858000"/>
              <a:gd name="connsiteX61" fmla="*/ 661991 w 12192000"/>
              <a:gd name="connsiteY61" fmla="*/ 976580 h 6858000"/>
              <a:gd name="connsiteX62" fmla="*/ 661991 w 12192000"/>
              <a:gd name="connsiteY62" fmla="*/ 966309 h 6858000"/>
              <a:gd name="connsiteX63" fmla="*/ 661991 w 12192000"/>
              <a:gd name="connsiteY63" fmla="*/ 956059 h 6858000"/>
              <a:gd name="connsiteX64" fmla="*/ 661991 w 12192000"/>
              <a:gd name="connsiteY64" fmla="*/ 955959 h 6858000"/>
              <a:gd name="connsiteX65" fmla="*/ 661991 w 12192000"/>
              <a:gd name="connsiteY65" fmla="*/ 946118 h 6858000"/>
              <a:gd name="connsiteX66" fmla="*/ 661991 w 12192000"/>
              <a:gd name="connsiteY66" fmla="*/ 932847 h 6858000"/>
              <a:gd name="connsiteX67" fmla="*/ 661991 w 12192000"/>
              <a:gd name="connsiteY67" fmla="*/ 921144 h 6858000"/>
              <a:gd name="connsiteX68" fmla="*/ 661991 w 12192000"/>
              <a:gd name="connsiteY68" fmla="*/ 915078 h 6858000"/>
              <a:gd name="connsiteX69" fmla="*/ 661991 w 12192000"/>
              <a:gd name="connsiteY69" fmla="*/ 910893 h 6858000"/>
              <a:gd name="connsiteX70" fmla="*/ 661991 w 12192000"/>
              <a:gd name="connsiteY70" fmla="*/ 910794 h 6858000"/>
              <a:gd name="connsiteX71" fmla="*/ 661991 w 12192000"/>
              <a:gd name="connsiteY71" fmla="*/ 900953 h 6858000"/>
              <a:gd name="connsiteX72" fmla="*/ 661991 w 12192000"/>
              <a:gd name="connsiteY72" fmla="*/ 894886 h 6858000"/>
              <a:gd name="connsiteX73" fmla="*/ 661991 w 12192000"/>
              <a:gd name="connsiteY73" fmla="*/ 887805 h 6858000"/>
              <a:gd name="connsiteX74" fmla="*/ 661991 w 12192000"/>
              <a:gd name="connsiteY74" fmla="*/ 887681 h 6858000"/>
              <a:gd name="connsiteX75" fmla="*/ 661991 w 12192000"/>
              <a:gd name="connsiteY75" fmla="*/ 877554 h 6858000"/>
              <a:gd name="connsiteX76" fmla="*/ 661991 w 12192000"/>
              <a:gd name="connsiteY76" fmla="*/ 877454 h 6858000"/>
              <a:gd name="connsiteX77" fmla="*/ 661991 w 12192000"/>
              <a:gd name="connsiteY77" fmla="*/ 877411 h 6858000"/>
              <a:gd name="connsiteX78" fmla="*/ 661991 w 12192000"/>
              <a:gd name="connsiteY78" fmla="*/ 871345 h 6858000"/>
              <a:gd name="connsiteX79" fmla="*/ 661991 w 12192000"/>
              <a:gd name="connsiteY79" fmla="*/ 867613 h 6858000"/>
              <a:gd name="connsiteX80" fmla="*/ 661991 w 12192000"/>
              <a:gd name="connsiteY80" fmla="*/ 867160 h 6858000"/>
              <a:gd name="connsiteX81" fmla="*/ 661991 w 12192000"/>
              <a:gd name="connsiteY81" fmla="*/ 867061 h 6858000"/>
              <a:gd name="connsiteX82" fmla="*/ 661991 w 12192000"/>
              <a:gd name="connsiteY82" fmla="*/ 857220 h 6858000"/>
              <a:gd name="connsiteX83" fmla="*/ 661991 w 12192000"/>
              <a:gd name="connsiteY83" fmla="*/ 854342 h 6858000"/>
              <a:gd name="connsiteX84" fmla="*/ 661991 w 12192000"/>
              <a:gd name="connsiteY84" fmla="*/ 851153 h 6858000"/>
              <a:gd name="connsiteX85" fmla="*/ 661991 w 12192000"/>
              <a:gd name="connsiteY85" fmla="*/ 844072 h 6858000"/>
              <a:gd name="connsiteX86" fmla="*/ 661991 w 12192000"/>
              <a:gd name="connsiteY86" fmla="*/ 843948 h 6858000"/>
              <a:gd name="connsiteX87" fmla="*/ 661991 w 12192000"/>
              <a:gd name="connsiteY87" fmla="*/ 833821 h 6858000"/>
              <a:gd name="connsiteX88" fmla="*/ 661991 w 12192000"/>
              <a:gd name="connsiteY88" fmla="*/ 833721 h 6858000"/>
              <a:gd name="connsiteX89" fmla="*/ 661991 w 12192000"/>
              <a:gd name="connsiteY89" fmla="*/ 826180 h 6858000"/>
              <a:gd name="connsiteX90" fmla="*/ 661991 w 12192000"/>
              <a:gd name="connsiteY90" fmla="*/ 823880 h 6858000"/>
              <a:gd name="connsiteX91" fmla="*/ 661991 w 12192000"/>
              <a:gd name="connsiteY91" fmla="*/ 810609 h 6858000"/>
              <a:gd name="connsiteX92" fmla="*/ 661991 w 12192000"/>
              <a:gd name="connsiteY92" fmla="*/ 805988 h 6858000"/>
              <a:gd name="connsiteX93" fmla="*/ 661991 w 12192000"/>
              <a:gd name="connsiteY93" fmla="*/ 798906 h 6858000"/>
              <a:gd name="connsiteX94" fmla="*/ 661991 w 12192000"/>
              <a:gd name="connsiteY94" fmla="*/ 792840 h 6858000"/>
              <a:gd name="connsiteX95" fmla="*/ 661991 w 12192000"/>
              <a:gd name="connsiteY95" fmla="*/ 788656 h 6858000"/>
              <a:gd name="connsiteX96" fmla="*/ 661991 w 12192000"/>
              <a:gd name="connsiteY96" fmla="*/ 788556 h 6858000"/>
              <a:gd name="connsiteX97" fmla="*/ 661991 w 12192000"/>
              <a:gd name="connsiteY97" fmla="*/ 782447 h 6858000"/>
              <a:gd name="connsiteX98" fmla="*/ 661991 w 12192000"/>
              <a:gd name="connsiteY98" fmla="*/ 778715 h 6858000"/>
              <a:gd name="connsiteX99" fmla="*/ 661991 w 12192000"/>
              <a:gd name="connsiteY99" fmla="*/ 772649 h 6858000"/>
              <a:gd name="connsiteX100" fmla="*/ 661991 w 12192000"/>
              <a:gd name="connsiteY100" fmla="*/ 765444 h 6858000"/>
              <a:gd name="connsiteX101" fmla="*/ 661991 w 12192000"/>
              <a:gd name="connsiteY101" fmla="*/ 762255 h 6858000"/>
              <a:gd name="connsiteX102" fmla="*/ 661991 w 12192000"/>
              <a:gd name="connsiteY102" fmla="*/ 755173 h 6858000"/>
              <a:gd name="connsiteX103" fmla="*/ 661991 w 12192000"/>
              <a:gd name="connsiteY103" fmla="*/ 749107 h 6858000"/>
              <a:gd name="connsiteX104" fmla="*/ 661991 w 12192000"/>
              <a:gd name="connsiteY104" fmla="*/ 744923 h 6858000"/>
              <a:gd name="connsiteX105" fmla="*/ 661991 w 12192000"/>
              <a:gd name="connsiteY105" fmla="*/ 744823 h 6858000"/>
              <a:gd name="connsiteX106" fmla="*/ 661991 w 12192000"/>
              <a:gd name="connsiteY106" fmla="*/ 734982 h 6858000"/>
              <a:gd name="connsiteX107" fmla="*/ 661991 w 12192000"/>
              <a:gd name="connsiteY107" fmla="*/ 728916 h 6858000"/>
              <a:gd name="connsiteX108" fmla="*/ 661991 w 12192000"/>
              <a:gd name="connsiteY108" fmla="*/ 721711 h 6858000"/>
              <a:gd name="connsiteX109" fmla="*/ 661991 w 12192000"/>
              <a:gd name="connsiteY109" fmla="*/ 703942 h 6858000"/>
              <a:gd name="connsiteX110" fmla="*/ 661991 w 12192000"/>
              <a:gd name="connsiteY110" fmla="*/ 689608 h 6858000"/>
              <a:gd name="connsiteX111" fmla="*/ 661991 w 12192000"/>
              <a:gd name="connsiteY111" fmla="*/ 683750 h 6858000"/>
              <a:gd name="connsiteX112" fmla="*/ 661991 w 12192000"/>
              <a:gd name="connsiteY112" fmla="*/ 681681 h 6858000"/>
              <a:gd name="connsiteX113" fmla="*/ 661991 w 12192000"/>
              <a:gd name="connsiteY113" fmla="*/ 660209 h 6858000"/>
              <a:gd name="connsiteX114" fmla="*/ 661991 w 12192000"/>
              <a:gd name="connsiteY114" fmla="*/ 645875 h 6858000"/>
              <a:gd name="connsiteX115" fmla="*/ 661991 w 12192000"/>
              <a:gd name="connsiteY115" fmla="*/ 640017 h 6858000"/>
              <a:gd name="connsiteX116" fmla="*/ 661991 w 12192000"/>
              <a:gd name="connsiteY116" fmla="*/ 637948 h 6858000"/>
              <a:gd name="connsiteX117" fmla="*/ 661991 w 12192000"/>
              <a:gd name="connsiteY117" fmla="*/ 604895 h 6858000"/>
              <a:gd name="connsiteX118" fmla="*/ 661991 w 12192000"/>
              <a:gd name="connsiteY118" fmla="*/ 600710 h 6858000"/>
              <a:gd name="connsiteX119" fmla="*/ 661991 w 12192000"/>
              <a:gd name="connsiteY119" fmla="*/ 592783 h 6858000"/>
              <a:gd name="connsiteX120" fmla="*/ 661991 w 12192000"/>
              <a:gd name="connsiteY120" fmla="*/ 584703 h 6858000"/>
              <a:gd name="connsiteX121" fmla="*/ 661991 w 12192000"/>
              <a:gd name="connsiteY121" fmla="*/ 567371 h 6858000"/>
              <a:gd name="connsiteX122" fmla="*/ 661991 w 12192000"/>
              <a:gd name="connsiteY122" fmla="*/ 561162 h 6858000"/>
              <a:gd name="connsiteX123" fmla="*/ 661991 w 12192000"/>
              <a:gd name="connsiteY123" fmla="*/ 559443 h 6858000"/>
              <a:gd name="connsiteX124" fmla="*/ 661991 w 12192000"/>
              <a:gd name="connsiteY124" fmla="*/ 556977 h 6858000"/>
              <a:gd name="connsiteX125" fmla="*/ 661991 w 12192000"/>
              <a:gd name="connsiteY125" fmla="*/ 549050 h 6858000"/>
              <a:gd name="connsiteX126" fmla="*/ 661991 w 12192000"/>
              <a:gd name="connsiteY126" fmla="*/ 540970 h 6858000"/>
              <a:gd name="connsiteX127" fmla="*/ 661991 w 12192000"/>
              <a:gd name="connsiteY127" fmla="*/ 523638 h 6858000"/>
              <a:gd name="connsiteX128" fmla="*/ 661991 w 12192000"/>
              <a:gd name="connsiteY128" fmla="*/ 515996 h 6858000"/>
              <a:gd name="connsiteX129" fmla="*/ 661991 w 12192000"/>
              <a:gd name="connsiteY129" fmla="*/ 515710 h 6858000"/>
              <a:gd name="connsiteX130" fmla="*/ 661991 w 12192000"/>
              <a:gd name="connsiteY130" fmla="*/ 495805 h 6858000"/>
              <a:gd name="connsiteX131" fmla="*/ 661991 w 12192000"/>
              <a:gd name="connsiteY131" fmla="*/ 482657 h 6858000"/>
              <a:gd name="connsiteX132" fmla="*/ 661991 w 12192000"/>
              <a:gd name="connsiteY132" fmla="*/ 478472 h 6858000"/>
              <a:gd name="connsiteX133" fmla="*/ 661991 w 12192000"/>
              <a:gd name="connsiteY133" fmla="*/ 472263 h 6858000"/>
              <a:gd name="connsiteX134" fmla="*/ 661991 w 12192000"/>
              <a:gd name="connsiteY134" fmla="*/ 470545 h 6858000"/>
              <a:gd name="connsiteX135" fmla="*/ 661991 w 12192000"/>
              <a:gd name="connsiteY135" fmla="*/ 462465 h 6858000"/>
              <a:gd name="connsiteX136" fmla="*/ 661991 w 12192000"/>
              <a:gd name="connsiteY136" fmla="*/ 452072 h 6858000"/>
              <a:gd name="connsiteX137" fmla="*/ 661991 w 12192000"/>
              <a:gd name="connsiteY137" fmla="*/ 438924 h 6858000"/>
              <a:gd name="connsiteX138" fmla="*/ 661991 w 12192000"/>
              <a:gd name="connsiteY138" fmla="*/ 434739 h 6858000"/>
              <a:gd name="connsiteX139" fmla="*/ 661991 w 12192000"/>
              <a:gd name="connsiteY139" fmla="*/ 426812 h 6858000"/>
              <a:gd name="connsiteX140" fmla="*/ 661991 w 12192000"/>
              <a:gd name="connsiteY140" fmla="*/ 418732 h 6858000"/>
              <a:gd name="connsiteX141" fmla="*/ 661991 w 12192000"/>
              <a:gd name="connsiteY141" fmla="*/ 393759 h 6858000"/>
              <a:gd name="connsiteX142" fmla="*/ 661991 w 12192000"/>
              <a:gd name="connsiteY142" fmla="*/ 373567 h 6858000"/>
              <a:gd name="connsiteX143" fmla="*/ 661991 w 12192000"/>
              <a:gd name="connsiteY143" fmla="*/ 350026 h 6858000"/>
              <a:gd name="connsiteX144" fmla="*/ 0 w 12192000"/>
              <a:gd name="connsiteY144" fmla="*/ 0 h 6858000"/>
              <a:gd name="connsiteX145" fmla="*/ 12192000 w 12192000"/>
              <a:gd name="connsiteY145" fmla="*/ 0 h 6858000"/>
              <a:gd name="connsiteX146" fmla="*/ 12192000 w 12192000"/>
              <a:gd name="connsiteY146" fmla="*/ 6858000 h 6858000"/>
              <a:gd name="connsiteX147" fmla="*/ 0 w 12192000"/>
              <a:gd name="connsiteY14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12192000" h="6858000">
                <a:moveTo>
                  <a:pt x="661991" y="339114"/>
                </a:moveTo>
                <a:lnTo>
                  <a:pt x="1" y="410557"/>
                </a:lnTo>
                <a:lnTo>
                  <a:pt x="1" y="421468"/>
                </a:lnTo>
                <a:lnTo>
                  <a:pt x="1" y="426812"/>
                </a:lnTo>
                <a:lnTo>
                  <a:pt x="1" y="445011"/>
                </a:lnTo>
                <a:lnTo>
                  <a:pt x="1" y="465201"/>
                </a:lnTo>
                <a:lnTo>
                  <a:pt x="1" y="470545"/>
                </a:lnTo>
                <a:lnTo>
                  <a:pt x="1" y="490176"/>
                </a:lnTo>
                <a:lnTo>
                  <a:pt x="1" y="510367"/>
                </a:lnTo>
                <a:lnTo>
                  <a:pt x="1" y="515710"/>
                </a:lnTo>
                <a:lnTo>
                  <a:pt x="1" y="523515"/>
                </a:lnTo>
                <a:lnTo>
                  <a:pt x="1" y="533909"/>
                </a:lnTo>
                <a:lnTo>
                  <a:pt x="1" y="543706"/>
                </a:lnTo>
                <a:lnTo>
                  <a:pt x="1" y="549050"/>
                </a:lnTo>
                <a:lnTo>
                  <a:pt x="1" y="554100"/>
                </a:lnTo>
                <a:lnTo>
                  <a:pt x="1" y="559443"/>
                </a:lnTo>
                <a:lnTo>
                  <a:pt x="1" y="567248"/>
                </a:lnTo>
                <a:lnTo>
                  <a:pt x="1" y="587439"/>
                </a:lnTo>
                <a:lnTo>
                  <a:pt x="1" y="592783"/>
                </a:lnTo>
                <a:lnTo>
                  <a:pt x="1" y="612414"/>
                </a:lnTo>
                <a:lnTo>
                  <a:pt x="1" y="632604"/>
                </a:lnTo>
                <a:lnTo>
                  <a:pt x="1" y="637948"/>
                </a:lnTo>
                <a:lnTo>
                  <a:pt x="1" y="656147"/>
                </a:lnTo>
                <a:lnTo>
                  <a:pt x="1" y="676337"/>
                </a:lnTo>
                <a:lnTo>
                  <a:pt x="1" y="681681"/>
                </a:lnTo>
                <a:lnTo>
                  <a:pt x="1" y="744823"/>
                </a:lnTo>
                <a:lnTo>
                  <a:pt x="1" y="744923"/>
                </a:lnTo>
                <a:lnTo>
                  <a:pt x="1" y="788556"/>
                </a:lnTo>
                <a:lnTo>
                  <a:pt x="1" y="788656"/>
                </a:lnTo>
                <a:lnTo>
                  <a:pt x="1" y="806425"/>
                </a:lnTo>
                <a:lnTo>
                  <a:pt x="1" y="826616"/>
                </a:lnTo>
                <a:lnTo>
                  <a:pt x="1" y="833721"/>
                </a:lnTo>
                <a:lnTo>
                  <a:pt x="1" y="833821"/>
                </a:lnTo>
                <a:lnTo>
                  <a:pt x="1" y="850158"/>
                </a:lnTo>
                <a:lnTo>
                  <a:pt x="1" y="867061"/>
                </a:lnTo>
                <a:lnTo>
                  <a:pt x="1" y="867160"/>
                </a:lnTo>
                <a:lnTo>
                  <a:pt x="1" y="870349"/>
                </a:lnTo>
                <a:lnTo>
                  <a:pt x="1" y="877454"/>
                </a:lnTo>
                <a:lnTo>
                  <a:pt x="1" y="877554"/>
                </a:lnTo>
                <a:lnTo>
                  <a:pt x="1" y="895324"/>
                </a:lnTo>
                <a:lnTo>
                  <a:pt x="1" y="910794"/>
                </a:lnTo>
                <a:lnTo>
                  <a:pt x="1" y="910893"/>
                </a:lnTo>
                <a:lnTo>
                  <a:pt x="1" y="915514"/>
                </a:lnTo>
                <a:lnTo>
                  <a:pt x="1" y="928663"/>
                </a:lnTo>
                <a:lnTo>
                  <a:pt x="1" y="939057"/>
                </a:lnTo>
                <a:lnTo>
                  <a:pt x="1" y="948854"/>
                </a:lnTo>
                <a:lnTo>
                  <a:pt x="1" y="955959"/>
                </a:lnTo>
                <a:lnTo>
                  <a:pt x="1" y="956059"/>
                </a:lnTo>
                <a:lnTo>
                  <a:pt x="1" y="959247"/>
                </a:lnTo>
                <a:lnTo>
                  <a:pt x="1" y="972396"/>
                </a:lnTo>
                <a:lnTo>
                  <a:pt x="1" y="992587"/>
                </a:lnTo>
                <a:lnTo>
                  <a:pt x="1" y="999692"/>
                </a:lnTo>
                <a:lnTo>
                  <a:pt x="1" y="999792"/>
                </a:lnTo>
                <a:lnTo>
                  <a:pt x="1" y="1017561"/>
                </a:lnTo>
                <a:lnTo>
                  <a:pt x="1" y="1037752"/>
                </a:lnTo>
                <a:lnTo>
                  <a:pt x="1" y="1061294"/>
                </a:lnTo>
                <a:lnTo>
                  <a:pt x="1" y="1081485"/>
                </a:lnTo>
                <a:lnTo>
                  <a:pt x="661991" y="1010042"/>
                </a:lnTo>
                <a:lnTo>
                  <a:pt x="661991" y="999792"/>
                </a:lnTo>
                <a:lnTo>
                  <a:pt x="661991" y="999692"/>
                </a:lnTo>
                <a:lnTo>
                  <a:pt x="661991" y="989851"/>
                </a:lnTo>
                <a:lnTo>
                  <a:pt x="661991" y="976580"/>
                </a:lnTo>
                <a:lnTo>
                  <a:pt x="661991" y="966309"/>
                </a:lnTo>
                <a:lnTo>
                  <a:pt x="661991" y="956059"/>
                </a:lnTo>
                <a:lnTo>
                  <a:pt x="661991" y="955959"/>
                </a:lnTo>
                <a:lnTo>
                  <a:pt x="661991" y="946118"/>
                </a:lnTo>
                <a:lnTo>
                  <a:pt x="661991" y="932847"/>
                </a:lnTo>
                <a:lnTo>
                  <a:pt x="661991" y="921144"/>
                </a:lnTo>
                <a:lnTo>
                  <a:pt x="661991" y="915078"/>
                </a:lnTo>
                <a:lnTo>
                  <a:pt x="661991" y="910893"/>
                </a:lnTo>
                <a:lnTo>
                  <a:pt x="661991" y="910794"/>
                </a:lnTo>
                <a:lnTo>
                  <a:pt x="661991" y="900953"/>
                </a:lnTo>
                <a:lnTo>
                  <a:pt x="661991" y="894886"/>
                </a:lnTo>
                <a:lnTo>
                  <a:pt x="661991" y="887805"/>
                </a:lnTo>
                <a:lnTo>
                  <a:pt x="661991" y="887681"/>
                </a:lnTo>
                <a:lnTo>
                  <a:pt x="661991" y="877554"/>
                </a:lnTo>
                <a:lnTo>
                  <a:pt x="661991" y="877454"/>
                </a:lnTo>
                <a:lnTo>
                  <a:pt x="661991" y="877411"/>
                </a:lnTo>
                <a:lnTo>
                  <a:pt x="661991" y="871345"/>
                </a:lnTo>
                <a:lnTo>
                  <a:pt x="661991" y="867613"/>
                </a:lnTo>
                <a:lnTo>
                  <a:pt x="661991" y="867160"/>
                </a:lnTo>
                <a:lnTo>
                  <a:pt x="661991" y="867061"/>
                </a:lnTo>
                <a:lnTo>
                  <a:pt x="661991" y="857220"/>
                </a:lnTo>
                <a:lnTo>
                  <a:pt x="661991" y="854342"/>
                </a:lnTo>
                <a:lnTo>
                  <a:pt x="661991" y="851153"/>
                </a:lnTo>
                <a:lnTo>
                  <a:pt x="661991" y="844072"/>
                </a:lnTo>
                <a:lnTo>
                  <a:pt x="661991" y="843948"/>
                </a:lnTo>
                <a:lnTo>
                  <a:pt x="661991" y="833821"/>
                </a:lnTo>
                <a:lnTo>
                  <a:pt x="661991" y="833721"/>
                </a:lnTo>
                <a:lnTo>
                  <a:pt x="661991" y="826180"/>
                </a:lnTo>
                <a:lnTo>
                  <a:pt x="661991" y="823880"/>
                </a:lnTo>
                <a:lnTo>
                  <a:pt x="661991" y="810609"/>
                </a:lnTo>
                <a:lnTo>
                  <a:pt x="661991" y="805988"/>
                </a:lnTo>
                <a:lnTo>
                  <a:pt x="661991" y="798906"/>
                </a:lnTo>
                <a:lnTo>
                  <a:pt x="661991" y="792840"/>
                </a:lnTo>
                <a:lnTo>
                  <a:pt x="661991" y="788656"/>
                </a:lnTo>
                <a:lnTo>
                  <a:pt x="661991" y="788556"/>
                </a:lnTo>
                <a:lnTo>
                  <a:pt x="661991" y="782447"/>
                </a:lnTo>
                <a:lnTo>
                  <a:pt x="661991" y="778715"/>
                </a:lnTo>
                <a:lnTo>
                  <a:pt x="661991" y="772649"/>
                </a:lnTo>
                <a:lnTo>
                  <a:pt x="661991" y="765444"/>
                </a:lnTo>
                <a:lnTo>
                  <a:pt x="661991" y="762255"/>
                </a:lnTo>
                <a:lnTo>
                  <a:pt x="661991" y="755173"/>
                </a:lnTo>
                <a:lnTo>
                  <a:pt x="661991" y="749107"/>
                </a:lnTo>
                <a:lnTo>
                  <a:pt x="661991" y="744923"/>
                </a:lnTo>
                <a:lnTo>
                  <a:pt x="661991" y="744823"/>
                </a:lnTo>
                <a:lnTo>
                  <a:pt x="661991" y="734982"/>
                </a:lnTo>
                <a:lnTo>
                  <a:pt x="661991" y="728916"/>
                </a:lnTo>
                <a:lnTo>
                  <a:pt x="661991" y="721711"/>
                </a:lnTo>
                <a:lnTo>
                  <a:pt x="661991" y="703942"/>
                </a:lnTo>
                <a:lnTo>
                  <a:pt x="661991" y="689608"/>
                </a:lnTo>
                <a:lnTo>
                  <a:pt x="661991" y="683750"/>
                </a:lnTo>
                <a:lnTo>
                  <a:pt x="661991" y="681681"/>
                </a:lnTo>
                <a:lnTo>
                  <a:pt x="661991" y="660209"/>
                </a:lnTo>
                <a:lnTo>
                  <a:pt x="661991" y="645875"/>
                </a:lnTo>
                <a:lnTo>
                  <a:pt x="661991" y="640017"/>
                </a:lnTo>
                <a:lnTo>
                  <a:pt x="661991" y="637948"/>
                </a:lnTo>
                <a:lnTo>
                  <a:pt x="661991" y="604895"/>
                </a:lnTo>
                <a:lnTo>
                  <a:pt x="661991" y="600710"/>
                </a:lnTo>
                <a:lnTo>
                  <a:pt x="661991" y="592783"/>
                </a:lnTo>
                <a:lnTo>
                  <a:pt x="661991" y="584703"/>
                </a:lnTo>
                <a:lnTo>
                  <a:pt x="661991" y="567371"/>
                </a:lnTo>
                <a:lnTo>
                  <a:pt x="661991" y="561162"/>
                </a:lnTo>
                <a:lnTo>
                  <a:pt x="661991" y="559443"/>
                </a:lnTo>
                <a:lnTo>
                  <a:pt x="661991" y="556977"/>
                </a:lnTo>
                <a:lnTo>
                  <a:pt x="661991" y="549050"/>
                </a:lnTo>
                <a:lnTo>
                  <a:pt x="661991" y="540970"/>
                </a:lnTo>
                <a:lnTo>
                  <a:pt x="661991" y="523638"/>
                </a:lnTo>
                <a:lnTo>
                  <a:pt x="661991" y="515996"/>
                </a:lnTo>
                <a:lnTo>
                  <a:pt x="661991" y="515710"/>
                </a:lnTo>
                <a:lnTo>
                  <a:pt x="661991" y="495805"/>
                </a:lnTo>
                <a:lnTo>
                  <a:pt x="661991" y="482657"/>
                </a:lnTo>
                <a:lnTo>
                  <a:pt x="661991" y="478472"/>
                </a:lnTo>
                <a:lnTo>
                  <a:pt x="661991" y="472263"/>
                </a:lnTo>
                <a:lnTo>
                  <a:pt x="661991" y="470545"/>
                </a:lnTo>
                <a:lnTo>
                  <a:pt x="661991" y="462465"/>
                </a:lnTo>
                <a:lnTo>
                  <a:pt x="661991" y="452072"/>
                </a:lnTo>
                <a:lnTo>
                  <a:pt x="661991" y="438924"/>
                </a:lnTo>
                <a:lnTo>
                  <a:pt x="661991" y="434739"/>
                </a:lnTo>
                <a:lnTo>
                  <a:pt x="661991" y="426812"/>
                </a:lnTo>
                <a:lnTo>
                  <a:pt x="661991" y="418732"/>
                </a:lnTo>
                <a:lnTo>
                  <a:pt x="661991" y="393759"/>
                </a:lnTo>
                <a:lnTo>
                  <a:pt x="661991" y="373567"/>
                </a:lnTo>
                <a:lnTo>
                  <a:pt x="661991" y="35002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 bIns="1584000" anchor="b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E9CC2C3-73C3-41F8-A9F3-4DFF1E4B52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4061" y="3092783"/>
            <a:ext cx="9743879" cy="677108"/>
          </a:xfrm>
        </p:spPr>
        <p:txBody>
          <a:bodyPr anchor="ctr">
            <a:spAutoFit/>
          </a:bodyPr>
          <a:lstStyle>
            <a:lvl1pPr marL="0" indent="0" algn="ctr">
              <a:spcAft>
                <a:spcPts val="0"/>
              </a:spcAft>
              <a:buNone/>
              <a:defRPr sz="4400" b="1" kern="600" spc="40" baseline="0">
                <a:solidFill>
                  <a:schemeClr val="tx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grpSp>
        <p:nvGrpSpPr>
          <p:cNvPr id="5" name="Group 13">
            <a:extLst>
              <a:ext uri="{FF2B5EF4-FFF2-40B4-BE49-F238E27FC236}">
                <a16:creationId xmlns:a16="http://schemas.microsoft.com/office/drawing/2014/main" id="{FD461ADA-45A7-4378-B5B9-54CE9BF89A9C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6" name="Freeform 40">
              <a:extLst>
                <a:ext uri="{FF2B5EF4-FFF2-40B4-BE49-F238E27FC236}">
                  <a16:creationId xmlns:a16="http://schemas.microsoft.com/office/drawing/2014/main" id="{1AA0CEEF-19FF-43A0-8966-6DB91FA5A5B2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bg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Freeform 41">
              <a:extLst>
                <a:ext uri="{FF2B5EF4-FFF2-40B4-BE49-F238E27FC236}">
                  <a16:creationId xmlns:a16="http://schemas.microsoft.com/office/drawing/2014/main" id="{2D34465F-A7E6-49C4-A2DD-CFD03E807F00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774418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e mit Bildplatzhalter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2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Picture Placeholder 63">
            <a:extLst>
              <a:ext uri="{FF2B5EF4-FFF2-40B4-BE49-F238E27FC236}">
                <a16:creationId xmlns:a16="http://schemas.microsoft.com/office/drawing/2014/main" id="{004056D1-7168-4A16-801D-88B4BF20AE3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1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EC70416A-78D1-4FAA-9263-419E74D1E3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4" y="335582"/>
            <a:ext cx="5185237" cy="5234188"/>
          </a:xfrm>
          <a:custGeom>
            <a:avLst/>
            <a:gdLst>
              <a:gd name="connsiteX0" fmla="*/ 0 w 5185237"/>
              <a:gd name="connsiteY0" fmla="*/ 0 h 5234188"/>
              <a:gd name="connsiteX1" fmla="*/ 5185237 w 5185237"/>
              <a:gd name="connsiteY1" fmla="*/ 0 h 5234188"/>
              <a:gd name="connsiteX2" fmla="*/ 5185237 w 5185237"/>
              <a:gd name="connsiteY2" fmla="*/ 4735298 h 5234188"/>
              <a:gd name="connsiteX3" fmla="*/ 2431692 w 5185237"/>
              <a:gd name="connsiteY3" fmla="*/ 5000227 h 5234188"/>
              <a:gd name="connsiteX4" fmla="*/ 0 w 5185237"/>
              <a:gd name="connsiteY4" fmla="*/ 5234188 h 5234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85237" h="5234188">
                <a:moveTo>
                  <a:pt x="0" y="0"/>
                </a:moveTo>
                <a:lnTo>
                  <a:pt x="5185237" y="0"/>
                </a:lnTo>
                <a:lnTo>
                  <a:pt x="5185237" y="4735298"/>
                </a:lnTo>
                <a:lnTo>
                  <a:pt x="2431692" y="5000227"/>
                </a:lnTo>
                <a:lnTo>
                  <a:pt x="0" y="523418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360000" tIns="504000" rIns="360000" bIns="504000">
            <a:noAutofit/>
          </a:bodyPr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D38BFF1B-73CF-4984-9F29-2D30CCD703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40000" y="335585"/>
            <a:ext cx="5185236" cy="4707587"/>
          </a:xfrm>
          <a:custGeom>
            <a:avLst/>
            <a:gdLst>
              <a:gd name="connsiteX0" fmla="*/ 0 w 5185236"/>
              <a:gd name="connsiteY0" fmla="*/ 0 h 4707587"/>
              <a:gd name="connsiteX1" fmla="*/ 5185236 w 5185236"/>
              <a:gd name="connsiteY1" fmla="*/ 0 h 4707587"/>
              <a:gd name="connsiteX2" fmla="*/ 5185236 w 5185236"/>
              <a:gd name="connsiteY2" fmla="*/ 4208697 h 4707587"/>
              <a:gd name="connsiteX3" fmla="*/ 0 w 5185236"/>
              <a:gd name="connsiteY3" fmla="*/ 4707587 h 4707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85236" h="4707587">
                <a:moveTo>
                  <a:pt x="0" y="0"/>
                </a:moveTo>
                <a:lnTo>
                  <a:pt x="5185236" y="0"/>
                </a:lnTo>
                <a:lnTo>
                  <a:pt x="5185236" y="4208697"/>
                </a:lnTo>
                <a:lnTo>
                  <a:pt x="0" y="470758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504000" rIns="360000" bIns="504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7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9" name="Text Placeholder 57">
            <a:extLst>
              <a:ext uri="{FF2B5EF4-FFF2-40B4-BE49-F238E27FC236}">
                <a16:creationId xmlns:a16="http://schemas.microsoft.com/office/drawing/2014/main" id="{0E6FBE4D-8582-45C3-B225-A176E840E4D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26361" y="3558602"/>
            <a:ext cx="2069066" cy="1715020"/>
          </a:xfrm>
          <a:blipFill>
            <a:blip r:embed="rId8"/>
            <a:stretch>
              <a:fillRect l="117"/>
            </a:stretch>
          </a:blipFill>
        </p:spPr>
        <p:txBody>
          <a:bodyPr anchor="ctr"/>
          <a:lstStyle>
            <a:lvl1pPr marL="0" indent="0" algn="ctr">
              <a:buNone/>
              <a:defRPr>
                <a:blipFill>
                  <a:blip r:embed="rId8"/>
                  <a:stretch>
                    <a:fillRect l="117"/>
                  </a:stretch>
                </a:blipFill>
                <a:effectLst>
                  <a:outerShdw blurRad="50800" dist="50800" dir="5400000" algn="ctr" rotWithShape="0">
                    <a:srgbClr val="000000"/>
                  </a:outerShdw>
                </a:effectLst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E292EBB7-7039-4D87-BCDC-FB6BB4FB0E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28201" y="4484284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6251894B-5D3F-C541-B52A-E62499E80655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2756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26B43"/>
          </p15:clr>
        </p15:guide>
        <p15:guide id="2" pos="3931">
          <p15:clr>
            <a:srgbClr val="F26B43"/>
          </p15:clr>
        </p15:guide>
        <p15:guide id="3" orient="horz" pos="754">
          <p15:clr>
            <a:srgbClr val="A4A3A4"/>
          </p15:clr>
        </p15:guide>
        <p15:guide id="4" orient="horz" pos="640">
          <p15:clr>
            <a:srgbClr val="A4A3A4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e mit Bildplatzhalter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4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1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64" name="Picture Placeholder 63">
            <a:extLst>
              <a:ext uri="{FF2B5EF4-FFF2-40B4-BE49-F238E27FC236}">
                <a16:creationId xmlns:a16="http://schemas.microsoft.com/office/drawing/2014/main" id="{60ED6361-F72E-4082-BD9A-CC3E00274DD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70195F57-E2B4-4C17-921E-D0505DD50D4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4" y="335583"/>
            <a:ext cx="3349484" cy="5230829"/>
          </a:xfrm>
          <a:custGeom>
            <a:avLst/>
            <a:gdLst>
              <a:gd name="connsiteX0" fmla="*/ 0 w 3349484"/>
              <a:gd name="connsiteY0" fmla="*/ 0 h 5230829"/>
              <a:gd name="connsiteX1" fmla="*/ 3349484 w 3349484"/>
              <a:gd name="connsiteY1" fmla="*/ 0 h 5230829"/>
              <a:gd name="connsiteX2" fmla="*/ 3349484 w 3349484"/>
              <a:gd name="connsiteY2" fmla="*/ 4907329 h 5230829"/>
              <a:gd name="connsiteX3" fmla="*/ 0 w 3349484"/>
              <a:gd name="connsiteY3" fmla="*/ 5230829 h 5230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9484" h="5230829">
                <a:moveTo>
                  <a:pt x="0" y="0"/>
                </a:moveTo>
                <a:lnTo>
                  <a:pt x="3349484" y="0"/>
                </a:lnTo>
                <a:lnTo>
                  <a:pt x="3349484" y="4907329"/>
                </a:lnTo>
                <a:lnTo>
                  <a:pt x="0" y="5230829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360000" tIns="360000" rIns="360000" bIns="360000">
            <a:noAutofit/>
          </a:bodyPr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42F5AE94-26CB-4B52-9D32-BB3573223A2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03725" y="335583"/>
            <a:ext cx="3384549" cy="4879564"/>
          </a:xfrm>
          <a:custGeom>
            <a:avLst/>
            <a:gdLst>
              <a:gd name="connsiteX0" fmla="*/ 0 w 3384549"/>
              <a:gd name="connsiteY0" fmla="*/ 0 h 4879564"/>
              <a:gd name="connsiteX1" fmla="*/ 3384549 w 3384549"/>
              <a:gd name="connsiteY1" fmla="*/ 0 h 4879564"/>
              <a:gd name="connsiteX2" fmla="*/ 3384549 w 3384549"/>
              <a:gd name="connsiteY2" fmla="*/ 4552678 h 4879564"/>
              <a:gd name="connsiteX3" fmla="*/ 0 w 3384549"/>
              <a:gd name="connsiteY3" fmla="*/ 4879564 h 4879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84549" h="4879564">
                <a:moveTo>
                  <a:pt x="0" y="0"/>
                </a:moveTo>
                <a:lnTo>
                  <a:pt x="3384549" y="0"/>
                </a:lnTo>
                <a:lnTo>
                  <a:pt x="3384549" y="4552678"/>
                </a:lnTo>
                <a:lnTo>
                  <a:pt x="0" y="487956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36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7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6" name="Text Placeholder 55">
            <a:extLst>
              <a:ext uri="{FF2B5EF4-FFF2-40B4-BE49-F238E27FC236}">
                <a16:creationId xmlns:a16="http://schemas.microsoft.com/office/drawing/2014/main" id="{B081B6C1-45B0-4E79-BBD7-9988F5587DD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75751" y="335583"/>
            <a:ext cx="3349487" cy="4524912"/>
          </a:xfrm>
          <a:custGeom>
            <a:avLst/>
            <a:gdLst>
              <a:gd name="connsiteX0" fmla="*/ 0 w 3349487"/>
              <a:gd name="connsiteY0" fmla="*/ 0 h 4524912"/>
              <a:gd name="connsiteX1" fmla="*/ 3349487 w 3349487"/>
              <a:gd name="connsiteY1" fmla="*/ 0 h 4524912"/>
              <a:gd name="connsiteX2" fmla="*/ 3349487 w 3349487"/>
              <a:gd name="connsiteY2" fmla="*/ 4201413 h 4524912"/>
              <a:gd name="connsiteX3" fmla="*/ 0 w 3349487"/>
              <a:gd name="connsiteY3" fmla="*/ 4524912 h 452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9487" h="4524912">
                <a:moveTo>
                  <a:pt x="0" y="0"/>
                </a:moveTo>
                <a:lnTo>
                  <a:pt x="3349487" y="0"/>
                </a:lnTo>
                <a:lnTo>
                  <a:pt x="3349487" y="4201413"/>
                </a:lnTo>
                <a:lnTo>
                  <a:pt x="0" y="4524912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360000" tIns="360000" rIns="360000" bIns="360000">
            <a:noAutofit/>
          </a:bodyPr>
          <a:lstStyle>
            <a:lvl1pPr>
              <a:buClr>
                <a:schemeClr val="tx1"/>
              </a:buClr>
              <a:defRPr spc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pc="0">
                <a:solidFill>
                  <a:schemeClr val="tx1"/>
                </a:solidFill>
              </a:defRPr>
            </a:lvl2pPr>
            <a:lvl3pPr marL="360363" indent="-360363">
              <a:buFontTx/>
              <a:buBlip>
                <a:blip r:embed="rId8"/>
              </a:buBlip>
              <a:defRPr spc="0">
                <a:solidFill>
                  <a:schemeClr val="tx1"/>
                </a:solidFill>
              </a:defRPr>
            </a:lvl3pPr>
            <a:lvl4pPr>
              <a:defRPr spc="0">
                <a:solidFill>
                  <a:schemeClr val="tx1"/>
                </a:solidFill>
              </a:defRPr>
            </a:lvl4pPr>
            <a:lvl5pPr>
              <a:defRPr spc="0">
                <a:solidFill>
                  <a:schemeClr val="tx1"/>
                </a:solidFill>
              </a:defRPr>
            </a:lvl5pPr>
            <a:lvl6pPr>
              <a:defRPr spc="0">
                <a:solidFill>
                  <a:schemeClr val="tx1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9" name="Text Placeholder 57">
            <a:extLst>
              <a:ext uri="{FF2B5EF4-FFF2-40B4-BE49-F238E27FC236}">
                <a16:creationId xmlns:a16="http://schemas.microsoft.com/office/drawing/2014/main" id="{0E6FBE4D-8582-45C3-B225-A176E840E4D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4501" y="3763964"/>
            <a:ext cx="2069066" cy="1715020"/>
          </a:xfrm>
          <a:blipFill>
            <a:blip r:embed="rId9"/>
            <a:stretch>
              <a:fillRect l="117"/>
            </a:stretch>
          </a:blipFill>
        </p:spPr>
        <p:txBody>
          <a:bodyPr anchor="ctr"/>
          <a:lstStyle>
            <a:lvl1pPr marL="0" indent="0" algn="ctr">
              <a:buNone/>
              <a:defRPr>
                <a:blipFill>
                  <a:blip r:embed="rId9"/>
                  <a:stretch>
                    <a:fillRect l="117"/>
                  </a:stretch>
                </a:blipFill>
                <a:effectLst>
                  <a:outerShdw blurRad="50800" dist="50800" dir="5400000" algn="ctr" rotWithShape="0">
                    <a:srgbClr val="000000"/>
                  </a:outerShdw>
                </a:effectLst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E292EBB7-7039-4D87-BCDC-FB6BB4FB0E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93063" y="4715053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6251894B-5D3F-C541-B52A-E62499E80655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4651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06">
          <p15:clr>
            <a:srgbClr val="F26B43"/>
          </p15:clr>
        </p15:guide>
        <p15:guide id="2" pos="2593">
          <p15:clr>
            <a:srgbClr val="F26B43"/>
          </p15:clr>
        </p15:guide>
        <p15:guide id="3" pos="2774">
          <p15:clr>
            <a:srgbClr val="F26B43"/>
          </p15:clr>
        </p15:guide>
        <p15:guide id="4" pos="5087">
          <p15:clr>
            <a:srgbClr val="F26B43"/>
          </p15:clr>
        </p15:guide>
        <p15:guide id="5" orient="horz" pos="754">
          <p15:clr>
            <a:srgbClr val="A4A3A4"/>
          </p15:clr>
        </p15:guide>
        <p15:guide id="6" orient="horz" pos="640">
          <p15:clr>
            <a:srgbClr val="A4A3A4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e mit Bildplatzhalter (unten) /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7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1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64" name="Picture Placeholder 63">
            <a:extLst>
              <a:ext uri="{FF2B5EF4-FFF2-40B4-BE49-F238E27FC236}">
                <a16:creationId xmlns:a16="http://schemas.microsoft.com/office/drawing/2014/main" id="{60ED6361-F72E-4082-BD9A-CC3E00274DD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70195F57-E2B4-4C17-921E-D0505DD50D4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4" y="335583"/>
            <a:ext cx="3349484" cy="5230829"/>
          </a:xfrm>
          <a:custGeom>
            <a:avLst/>
            <a:gdLst>
              <a:gd name="connsiteX0" fmla="*/ 0 w 3349484"/>
              <a:gd name="connsiteY0" fmla="*/ 0 h 5230829"/>
              <a:gd name="connsiteX1" fmla="*/ 3349484 w 3349484"/>
              <a:gd name="connsiteY1" fmla="*/ 0 h 5230829"/>
              <a:gd name="connsiteX2" fmla="*/ 3349484 w 3349484"/>
              <a:gd name="connsiteY2" fmla="*/ 4907329 h 5230829"/>
              <a:gd name="connsiteX3" fmla="*/ 0 w 3349484"/>
              <a:gd name="connsiteY3" fmla="*/ 5230829 h 5230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9484" h="5230829">
                <a:moveTo>
                  <a:pt x="0" y="0"/>
                </a:moveTo>
                <a:lnTo>
                  <a:pt x="3349484" y="0"/>
                </a:lnTo>
                <a:lnTo>
                  <a:pt x="3349484" y="4907329"/>
                </a:lnTo>
                <a:lnTo>
                  <a:pt x="0" y="5230829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360000" tIns="360000" rIns="360000" bIns="360000">
            <a:noAutofit/>
          </a:bodyPr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42F5AE94-26CB-4B52-9D32-BB3573223A2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03725" y="335583"/>
            <a:ext cx="3384549" cy="4879564"/>
          </a:xfrm>
          <a:custGeom>
            <a:avLst/>
            <a:gdLst>
              <a:gd name="connsiteX0" fmla="*/ 0 w 3384549"/>
              <a:gd name="connsiteY0" fmla="*/ 0 h 4879564"/>
              <a:gd name="connsiteX1" fmla="*/ 3384549 w 3384549"/>
              <a:gd name="connsiteY1" fmla="*/ 0 h 4879564"/>
              <a:gd name="connsiteX2" fmla="*/ 3384549 w 3384549"/>
              <a:gd name="connsiteY2" fmla="*/ 4552678 h 4879564"/>
              <a:gd name="connsiteX3" fmla="*/ 0 w 3384549"/>
              <a:gd name="connsiteY3" fmla="*/ 4879564 h 4879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84549" h="4879564">
                <a:moveTo>
                  <a:pt x="0" y="0"/>
                </a:moveTo>
                <a:lnTo>
                  <a:pt x="3384549" y="0"/>
                </a:lnTo>
                <a:lnTo>
                  <a:pt x="3384549" y="4552678"/>
                </a:lnTo>
                <a:lnTo>
                  <a:pt x="0" y="487956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36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7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9" name="Text Placeholder 57">
            <a:extLst>
              <a:ext uri="{FF2B5EF4-FFF2-40B4-BE49-F238E27FC236}">
                <a16:creationId xmlns:a16="http://schemas.microsoft.com/office/drawing/2014/main" id="{0E6FBE4D-8582-45C3-B225-A176E840E4D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4501" y="3763964"/>
            <a:ext cx="2069066" cy="1715020"/>
          </a:xfrm>
          <a:blipFill>
            <a:blip r:embed="rId8"/>
            <a:stretch>
              <a:fillRect l="117"/>
            </a:stretch>
          </a:blipFill>
        </p:spPr>
        <p:txBody>
          <a:bodyPr anchor="ctr"/>
          <a:lstStyle>
            <a:lvl1pPr marL="0" indent="0" algn="ctr">
              <a:buNone/>
              <a:defRPr>
                <a:blipFill>
                  <a:blip r:embed="rId8"/>
                  <a:stretch>
                    <a:fillRect l="117"/>
                  </a:stretch>
                </a:blipFill>
                <a:effectLst>
                  <a:outerShdw blurRad="50800" dist="50800" dir="5400000" algn="ctr" rotWithShape="0">
                    <a:srgbClr val="000000"/>
                  </a:outerShdw>
                </a:effectLst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E292EBB7-7039-4D87-BCDC-FB6BB4FB0E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93063" y="4715053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D934306D-3770-2A4E-A9E7-7D0A21B68A9E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3" name="Text Placeholder 55">
            <a:extLst>
              <a:ext uri="{FF2B5EF4-FFF2-40B4-BE49-F238E27FC236}">
                <a16:creationId xmlns:a16="http://schemas.microsoft.com/office/drawing/2014/main" id="{386C06A8-E4A0-47F2-A0F9-69485B85698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75751" y="335583"/>
            <a:ext cx="3349487" cy="4524912"/>
          </a:xfrm>
          <a:custGeom>
            <a:avLst/>
            <a:gdLst>
              <a:gd name="connsiteX0" fmla="*/ 0 w 3349487"/>
              <a:gd name="connsiteY0" fmla="*/ 0 h 4524912"/>
              <a:gd name="connsiteX1" fmla="*/ 3349487 w 3349487"/>
              <a:gd name="connsiteY1" fmla="*/ 0 h 4524912"/>
              <a:gd name="connsiteX2" fmla="*/ 3349487 w 3349487"/>
              <a:gd name="connsiteY2" fmla="*/ 4201413 h 4524912"/>
              <a:gd name="connsiteX3" fmla="*/ 0 w 3349487"/>
              <a:gd name="connsiteY3" fmla="*/ 4524912 h 452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9487" h="4524912">
                <a:moveTo>
                  <a:pt x="0" y="0"/>
                </a:moveTo>
                <a:lnTo>
                  <a:pt x="3349487" y="0"/>
                </a:lnTo>
                <a:lnTo>
                  <a:pt x="3349487" y="4201413"/>
                </a:lnTo>
                <a:lnTo>
                  <a:pt x="0" y="4524912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36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FontTx/>
              <a:buBlip>
                <a:blip r:embed="rId9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631978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06">
          <p15:clr>
            <a:srgbClr val="F26B43"/>
          </p15:clr>
        </p15:guide>
        <p15:guide id="2" pos="2593">
          <p15:clr>
            <a:srgbClr val="F26B43"/>
          </p15:clr>
        </p15:guide>
        <p15:guide id="3" pos="2774">
          <p15:clr>
            <a:srgbClr val="F26B43"/>
          </p15:clr>
        </p15:guide>
        <p15:guide id="4" pos="5087">
          <p15:clr>
            <a:srgbClr val="F26B43"/>
          </p15:clr>
        </p15:guide>
        <p15:guide id="5" orient="horz" pos="754">
          <p15:clr>
            <a:srgbClr val="A4A3A4"/>
          </p15:clr>
        </p15:guide>
        <p15:guide id="6" orient="horz" pos="640">
          <p15:clr>
            <a:srgbClr val="A4A3A4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e mit Bildplatzhalter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9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1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64" name="Picture Placeholder 63">
            <a:extLst>
              <a:ext uri="{FF2B5EF4-FFF2-40B4-BE49-F238E27FC236}">
                <a16:creationId xmlns:a16="http://schemas.microsoft.com/office/drawing/2014/main" id="{60ED6361-F72E-4082-BD9A-CC3E00274DD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2AC76D0E-2E74-40A1-90B8-A4BCCDCE6C5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4" y="335584"/>
            <a:ext cx="2448618" cy="5234187"/>
          </a:xfrm>
          <a:custGeom>
            <a:avLst/>
            <a:gdLst>
              <a:gd name="connsiteX0" fmla="*/ 0 w 2448618"/>
              <a:gd name="connsiteY0" fmla="*/ 0 h 5234187"/>
              <a:gd name="connsiteX1" fmla="*/ 2448618 w 2448618"/>
              <a:gd name="connsiteY1" fmla="*/ 0 h 5234187"/>
              <a:gd name="connsiteX2" fmla="*/ 2448618 w 2448618"/>
              <a:gd name="connsiteY2" fmla="*/ 4998597 h 5234187"/>
              <a:gd name="connsiteX3" fmla="*/ 0 w 2448618"/>
              <a:gd name="connsiteY3" fmla="*/ 5234187 h 5234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18" h="5234187">
                <a:moveTo>
                  <a:pt x="0" y="0"/>
                </a:moveTo>
                <a:lnTo>
                  <a:pt x="2448618" y="0"/>
                </a:lnTo>
                <a:lnTo>
                  <a:pt x="2448618" y="4998597"/>
                </a:lnTo>
                <a:lnTo>
                  <a:pt x="0" y="5234187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180000" tIns="360000" rIns="180000" bIns="360000">
            <a:noAutofit/>
          </a:bodyPr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699A7C70-A183-4EE4-A764-684D3950B6C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03382" y="335585"/>
            <a:ext cx="2448619" cy="4970887"/>
          </a:xfrm>
          <a:custGeom>
            <a:avLst/>
            <a:gdLst>
              <a:gd name="connsiteX0" fmla="*/ 0 w 2448619"/>
              <a:gd name="connsiteY0" fmla="*/ 0 h 4970887"/>
              <a:gd name="connsiteX1" fmla="*/ 2448619 w 2448619"/>
              <a:gd name="connsiteY1" fmla="*/ 0 h 4970887"/>
              <a:gd name="connsiteX2" fmla="*/ 2448619 w 2448619"/>
              <a:gd name="connsiteY2" fmla="*/ 4735296 h 4970887"/>
              <a:gd name="connsiteX3" fmla="*/ 0 w 2448619"/>
              <a:gd name="connsiteY3" fmla="*/ 4970887 h 4970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19" h="4970887">
                <a:moveTo>
                  <a:pt x="0" y="0"/>
                </a:moveTo>
                <a:lnTo>
                  <a:pt x="2448619" y="0"/>
                </a:lnTo>
                <a:lnTo>
                  <a:pt x="2448619" y="4735296"/>
                </a:lnTo>
                <a:lnTo>
                  <a:pt x="0" y="497088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80000" tIns="360000" rIns="18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7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9" name="Text Placeholder 57">
            <a:extLst>
              <a:ext uri="{FF2B5EF4-FFF2-40B4-BE49-F238E27FC236}">
                <a16:creationId xmlns:a16="http://schemas.microsoft.com/office/drawing/2014/main" id="{0E6FBE4D-8582-45C3-B225-A176E840E4D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6540" y="3833610"/>
            <a:ext cx="2069066" cy="1715020"/>
          </a:xfrm>
          <a:blipFill>
            <a:blip r:embed="rId8"/>
            <a:stretch>
              <a:fillRect l="117"/>
            </a:stretch>
          </a:blipFill>
        </p:spPr>
        <p:txBody>
          <a:bodyPr anchor="ctr"/>
          <a:lstStyle>
            <a:lvl1pPr marL="0" indent="0" algn="ctr">
              <a:buNone/>
              <a:defRPr>
                <a:blipFill>
                  <a:blip r:embed="rId8"/>
                  <a:stretch>
                    <a:fillRect l="117"/>
                  </a:stretch>
                </a:blipFill>
                <a:effectLst>
                  <a:outerShdw blurRad="50800" dist="50800" dir="5400000" algn="ctr" rotWithShape="0">
                    <a:srgbClr val="000000"/>
                  </a:outerShdw>
                </a:effectLst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E292EBB7-7039-4D87-BCDC-FB6BB4FB0E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691582" y="4745837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6251894B-5D3F-C541-B52A-E62499E80655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71A3D910-AF8D-4A10-93AD-2A155C4B53D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40000" y="335585"/>
            <a:ext cx="2448618" cy="4707587"/>
          </a:xfrm>
          <a:custGeom>
            <a:avLst/>
            <a:gdLst>
              <a:gd name="connsiteX0" fmla="*/ 0 w 2448618"/>
              <a:gd name="connsiteY0" fmla="*/ 0 h 4707587"/>
              <a:gd name="connsiteX1" fmla="*/ 2448618 w 2448618"/>
              <a:gd name="connsiteY1" fmla="*/ 0 h 4707587"/>
              <a:gd name="connsiteX2" fmla="*/ 2448618 w 2448618"/>
              <a:gd name="connsiteY2" fmla="*/ 4471997 h 4707587"/>
              <a:gd name="connsiteX3" fmla="*/ 0 w 2448618"/>
              <a:gd name="connsiteY3" fmla="*/ 4707587 h 4707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18" h="4707587">
                <a:moveTo>
                  <a:pt x="0" y="0"/>
                </a:moveTo>
                <a:lnTo>
                  <a:pt x="2448618" y="0"/>
                </a:lnTo>
                <a:lnTo>
                  <a:pt x="2448618" y="4471997"/>
                </a:lnTo>
                <a:lnTo>
                  <a:pt x="0" y="4707587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180000" tIns="360000" rIns="180000" bIns="360000">
            <a:noAutofit/>
          </a:bodyPr>
          <a:lstStyle>
            <a:lvl1pPr>
              <a:buClr>
                <a:schemeClr val="tx1"/>
              </a:buClr>
              <a:defRPr spc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pc="0">
                <a:solidFill>
                  <a:schemeClr val="tx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9"/>
              </a:buBlip>
              <a:defRPr spc="0">
                <a:solidFill>
                  <a:schemeClr val="tx1"/>
                </a:solidFill>
              </a:defRPr>
            </a:lvl3pPr>
            <a:lvl4pPr>
              <a:defRPr spc="0">
                <a:solidFill>
                  <a:schemeClr val="tx1"/>
                </a:solidFill>
              </a:defRPr>
            </a:lvl4pPr>
            <a:lvl5pPr>
              <a:defRPr spc="0">
                <a:solidFill>
                  <a:schemeClr val="tx1"/>
                </a:solidFill>
              </a:defRPr>
            </a:lvl5pPr>
            <a:lvl6pPr>
              <a:defRPr spc="0">
                <a:solidFill>
                  <a:schemeClr val="tx1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54B18E07-3099-461D-AABB-46E95D25B0C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976618" y="335583"/>
            <a:ext cx="2448618" cy="4444288"/>
          </a:xfrm>
          <a:custGeom>
            <a:avLst/>
            <a:gdLst>
              <a:gd name="connsiteX0" fmla="*/ 0 w 2448618"/>
              <a:gd name="connsiteY0" fmla="*/ 0 h 4444288"/>
              <a:gd name="connsiteX1" fmla="*/ 2448618 w 2448618"/>
              <a:gd name="connsiteY1" fmla="*/ 0 h 4444288"/>
              <a:gd name="connsiteX2" fmla="*/ 2448618 w 2448618"/>
              <a:gd name="connsiteY2" fmla="*/ 4208698 h 4444288"/>
              <a:gd name="connsiteX3" fmla="*/ 0 w 2448618"/>
              <a:gd name="connsiteY3" fmla="*/ 4444288 h 4444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18" h="4444288">
                <a:moveTo>
                  <a:pt x="0" y="0"/>
                </a:moveTo>
                <a:lnTo>
                  <a:pt x="2448618" y="0"/>
                </a:lnTo>
                <a:lnTo>
                  <a:pt x="2448618" y="4208698"/>
                </a:lnTo>
                <a:lnTo>
                  <a:pt x="0" y="4444288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180000" tIns="360000" rIns="180000" bIns="360000">
            <a:noAutofit/>
          </a:bodyPr>
          <a:lstStyle>
            <a:lvl1pPr>
              <a:buClr>
                <a:schemeClr val="tx1"/>
              </a:buClr>
              <a:defRPr spc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pc="0">
                <a:solidFill>
                  <a:schemeClr val="tx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9"/>
              </a:buBlip>
              <a:defRPr spc="0">
                <a:solidFill>
                  <a:schemeClr val="tx1"/>
                </a:solidFill>
              </a:defRPr>
            </a:lvl3pPr>
            <a:lvl4pPr>
              <a:defRPr spc="0">
                <a:solidFill>
                  <a:schemeClr val="tx1"/>
                </a:solidFill>
              </a:defRPr>
            </a:lvl4pPr>
            <a:lvl5pPr>
              <a:defRPr spc="0">
                <a:solidFill>
                  <a:schemeClr val="tx1"/>
                </a:solidFill>
              </a:defRPr>
            </a:lvl5pPr>
            <a:lvl6pPr>
              <a:defRPr spc="0">
                <a:solidFill>
                  <a:schemeClr val="tx1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197407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26B43"/>
          </p15:clr>
        </p15:guide>
        <p15:guide id="2" pos="3931">
          <p15:clr>
            <a:srgbClr val="F26B43"/>
          </p15:clr>
        </p15:guide>
        <p15:guide id="3" orient="horz" pos="754">
          <p15:clr>
            <a:srgbClr val="A4A3A4"/>
          </p15:clr>
        </p15:guide>
        <p15:guide id="4" orient="horz" pos="640">
          <p15:clr>
            <a:srgbClr val="A4A3A4"/>
          </p15:clr>
        </p15:guide>
        <p15:guide id="5" pos="5654">
          <p15:clr>
            <a:srgbClr val="F26B43"/>
          </p15:clr>
        </p15:guide>
        <p15:guide id="6" pos="5473">
          <p15:clr>
            <a:srgbClr val="F26B43"/>
          </p15:clr>
        </p15:guide>
        <p15:guide id="7" pos="2207">
          <p15:clr>
            <a:srgbClr val="F26B43"/>
          </p15:clr>
        </p15:guide>
        <p15:guide id="8" pos="2026">
          <p15:clr>
            <a:srgbClr val="F26B43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2 Texten und Bildplatzhalter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18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063C7026-C875-4E69-BA5F-F496B8D31A7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spcAft>
                <a:spcPts val="1200"/>
              </a:spcAft>
            </a:pPr>
            <a:endParaRPr lang="de-DE" sz="2000" kern="6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8" name="Picture Placeholder 63">
            <a:extLst>
              <a:ext uri="{FF2B5EF4-FFF2-40B4-BE49-F238E27FC236}">
                <a16:creationId xmlns:a16="http://schemas.microsoft.com/office/drawing/2014/main" id="{004056D1-7168-4A16-801D-88B4BF20AE3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1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144BAB1F-8DA3-4C74-9036-E918CD77BD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3" y="1196976"/>
            <a:ext cx="5185238" cy="4372795"/>
          </a:xfrm>
          <a:custGeom>
            <a:avLst/>
            <a:gdLst>
              <a:gd name="connsiteX0" fmla="*/ 0 w 5185238"/>
              <a:gd name="connsiteY0" fmla="*/ 0 h 4372795"/>
              <a:gd name="connsiteX1" fmla="*/ 5185238 w 5185238"/>
              <a:gd name="connsiteY1" fmla="*/ 0 h 4372795"/>
              <a:gd name="connsiteX2" fmla="*/ 5185238 w 5185238"/>
              <a:gd name="connsiteY2" fmla="*/ 3873905 h 4372795"/>
              <a:gd name="connsiteX3" fmla="*/ 2431692 w 5185238"/>
              <a:gd name="connsiteY3" fmla="*/ 4138834 h 4372795"/>
              <a:gd name="connsiteX4" fmla="*/ 0 w 5185238"/>
              <a:gd name="connsiteY4" fmla="*/ 4372795 h 43727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85238" h="4372795">
                <a:moveTo>
                  <a:pt x="0" y="0"/>
                </a:moveTo>
                <a:lnTo>
                  <a:pt x="5185238" y="0"/>
                </a:lnTo>
                <a:lnTo>
                  <a:pt x="5185238" y="3873905"/>
                </a:lnTo>
                <a:lnTo>
                  <a:pt x="2431692" y="4138834"/>
                </a:lnTo>
                <a:lnTo>
                  <a:pt x="0" y="4372795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360000" tIns="360000" rIns="360000" bIns="360000">
            <a:noAutofit/>
          </a:bodyPr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DB6ADC81-7D97-467A-B7E6-238D218159A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40000" y="1196975"/>
            <a:ext cx="5185236" cy="3846197"/>
          </a:xfrm>
          <a:custGeom>
            <a:avLst/>
            <a:gdLst>
              <a:gd name="connsiteX0" fmla="*/ 0 w 5185236"/>
              <a:gd name="connsiteY0" fmla="*/ 0 h 3846197"/>
              <a:gd name="connsiteX1" fmla="*/ 5185236 w 5185236"/>
              <a:gd name="connsiteY1" fmla="*/ 0 h 3846197"/>
              <a:gd name="connsiteX2" fmla="*/ 5185236 w 5185236"/>
              <a:gd name="connsiteY2" fmla="*/ 3347307 h 3846197"/>
              <a:gd name="connsiteX3" fmla="*/ 0 w 5185236"/>
              <a:gd name="connsiteY3" fmla="*/ 3846197 h 3846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85236" h="3846197">
                <a:moveTo>
                  <a:pt x="0" y="0"/>
                </a:moveTo>
                <a:lnTo>
                  <a:pt x="5185236" y="0"/>
                </a:lnTo>
                <a:lnTo>
                  <a:pt x="5185236" y="3347307"/>
                </a:lnTo>
                <a:lnTo>
                  <a:pt x="0" y="384619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36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8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9" name="Text Placeholder 57">
            <a:extLst>
              <a:ext uri="{FF2B5EF4-FFF2-40B4-BE49-F238E27FC236}">
                <a16:creationId xmlns:a16="http://schemas.microsoft.com/office/drawing/2014/main" id="{0E6FBE4D-8582-45C3-B225-A176E840E4D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26361" y="3558602"/>
            <a:ext cx="2069066" cy="1715020"/>
          </a:xfrm>
          <a:blipFill>
            <a:blip r:embed="rId9"/>
            <a:stretch>
              <a:fillRect l="117"/>
            </a:stretch>
          </a:blipFill>
        </p:spPr>
        <p:txBody>
          <a:bodyPr anchor="ctr"/>
          <a:lstStyle>
            <a:lvl1pPr marL="0" indent="0" algn="ctr">
              <a:buNone/>
              <a:defRPr>
                <a:blipFill>
                  <a:blip r:embed="rId9"/>
                  <a:stretch>
                    <a:fillRect l="117"/>
                  </a:stretch>
                </a:blipFill>
                <a:effectLst>
                  <a:outerShdw blurRad="50800" dist="50800" dir="5400000" algn="ctr" rotWithShape="0">
                    <a:srgbClr val="000000"/>
                  </a:outerShdw>
                </a:effectLst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E292EBB7-7039-4D87-BCDC-FB6BB4FB0E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28201" y="4484284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6251894B-5D3F-C541-B52A-E62499E80655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C8A9898-6DBB-4A1B-9BF7-F1646A33EEF4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02D993-7EF4-4273-AFC6-CA85D55A1C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187129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26B43"/>
          </p15:clr>
        </p15:guide>
        <p15:guide id="2" pos="3931">
          <p15:clr>
            <a:srgbClr val="F26B43"/>
          </p15:clr>
        </p15:guide>
        <p15:guide id="3" orient="horz" pos="754">
          <p15:clr>
            <a:srgbClr val="A4A3A4"/>
          </p15:clr>
        </p15:guide>
        <p15:guide id="4" orient="horz" pos="640">
          <p15:clr>
            <a:srgbClr val="A4A3A4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3 Texten und Bildplatzhalter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42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8C537BA-F270-492E-9842-0197B8523B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spcAft>
                <a:spcPts val="1200"/>
              </a:spcAft>
            </a:pPr>
            <a:endParaRPr lang="de-DE" sz="2000" kern="6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8" name="Picture Placeholder 63">
            <a:extLst>
              <a:ext uri="{FF2B5EF4-FFF2-40B4-BE49-F238E27FC236}">
                <a16:creationId xmlns:a16="http://schemas.microsoft.com/office/drawing/2014/main" id="{004056D1-7168-4A16-801D-88B4BF20AE3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1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6251894B-5D3F-C541-B52A-E62499E80655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C8A9898-6DBB-4A1B-9BF7-F1646A33EEF4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D6AB30F3-FA02-447B-B929-87AE828698B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4" y="1196975"/>
            <a:ext cx="3349484" cy="4369437"/>
          </a:xfrm>
          <a:custGeom>
            <a:avLst/>
            <a:gdLst>
              <a:gd name="connsiteX0" fmla="*/ 0 w 3349484"/>
              <a:gd name="connsiteY0" fmla="*/ 0 h 4369437"/>
              <a:gd name="connsiteX1" fmla="*/ 3349484 w 3349484"/>
              <a:gd name="connsiteY1" fmla="*/ 0 h 4369437"/>
              <a:gd name="connsiteX2" fmla="*/ 3349484 w 3349484"/>
              <a:gd name="connsiteY2" fmla="*/ 4045937 h 4369437"/>
              <a:gd name="connsiteX3" fmla="*/ 0 w 3349484"/>
              <a:gd name="connsiteY3" fmla="*/ 4369437 h 4369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9484" h="4369437">
                <a:moveTo>
                  <a:pt x="0" y="0"/>
                </a:moveTo>
                <a:lnTo>
                  <a:pt x="3349484" y="0"/>
                </a:lnTo>
                <a:lnTo>
                  <a:pt x="3349484" y="4045937"/>
                </a:lnTo>
                <a:lnTo>
                  <a:pt x="0" y="4369437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360000" tIns="360000" rIns="360000" bIns="360000">
            <a:noAutofit/>
          </a:bodyPr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390BCA02-29C1-410D-99F8-06A6E3AC49E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03726" y="1196975"/>
            <a:ext cx="3384548" cy="4018172"/>
          </a:xfrm>
          <a:custGeom>
            <a:avLst/>
            <a:gdLst>
              <a:gd name="connsiteX0" fmla="*/ 0 w 3384548"/>
              <a:gd name="connsiteY0" fmla="*/ 0 h 4018172"/>
              <a:gd name="connsiteX1" fmla="*/ 3384548 w 3384548"/>
              <a:gd name="connsiteY1" fmla="*/ 0 h 4018172"/>
              <a:gd name="connsiteX2" fmla="*/ 3384548 w 3384548"/>
              <a:gd name="connsiteY2" fmla="*/ 3691286 h 4018172"/>
              <a:gd name="connsiteX3" fmla="*/ 0 w 3384548"/>
              <a:gd name="connsiteY3" fmla="*/ 4018172 h 4018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84548" h="4018172">
                <a:moveTo>
                  <a:pt x="0" y="0"/>
                </a:moveTo>
                <a:lnTo>
                  <a:pt x="3384548" y="0"/>
                </a:lnTo>
                <a:lnTo>
                  <a:pt x="3384548" y="3691286"/>
                </a:lnTo>
                <a:lnTo>
                  <a:pt x="0" y="4018172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36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8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0" name="Text Placeholder 57">
            <a:extLst>
              <a:ext uri="{FF2B5EF4-FFF2-40B4-BE49-F238E27FC236}">
                <a16:creationId xmlns:a16="http://schemas.microsoft.com/office/drawing/2014/main" id="{B2BA0479-354B-4453-9BD9-3B75CA9E75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4501" y="3763964"/>
            <a:ext cx="2069066" cy="1715020"/>
          </a:xfrm>
          <a:blipFill>
            <a:blip r:embed="rId9"/>
            <a:stretch>
              <a:fillRect l="117"/>
            </a:stretch>
          </a:blipFill>
        </p:spPr>
        <p:txBody>
          <a:bodyPr anchor="ctr"/>
          <a:lstStyle>
            <a:lvl1pPr marL="0" indent="0" algn="ctr">
              <a:buNone/>
              <a:defRPr>
                <a:blipFill>
                  <a:blip r:embed="rId9"/>
                  <a:stretch>
                    <a:fillRect l="117"/>
                  </a:stretch>
                </a:blipFill>
                <a:effectLst>
                  <a:outerShdw blurRad="50800" dist="50800" dir="5400000" algn="ctr" rotWithShape="0">
                    <a:srgbClr val="000000"/>
                  </a:outerShdw>
                </a:effectLst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21" name="Text Placeholder 61">
            <a:extLst>
              <a:ext uri="{FF2B5EF4-FFF2-40B4-BE49-F238E27FC236}">
                <a16:creationId xmlns:a16="http://schemas.microsoft.com/office/drawing/2014/main" id="{F1711DD1-B6B3-4336-9361-47CF8788980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93063" y="4715053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F548BEAD-49B1-4AFC-9311-CB049C5F0EA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75751" y="1196975"/>
            <a:ext cx="3349487" cy="3663520"/>
          </a:xfrm>
          <a:custGeom>
            <a:avLst/>
            <a:gdLst>
              <a:gd name="connsiteX0" fmla="*/ 0 w 3349487"/>
              <a:gd name="connsiteY0" fmla="*/ 0 h 3663520"/>
              <a:gd name="connsiteX1" fmla="*/ 3349487 w 3349487"/>
              <a:gd name="connsiteY1" fmla="*/ 0 h 3663520"/>
              <a:gd name="connsiteX2" fmla="*/ 3349487 w 3349487"/>
              <a:gd name="connsiteY2" fmla="*/ 3340021 h 3663520"/>
              <a:gd name="connsiteX3" fmla="*/ 0 w 3349487"/>
              <a:gd name="connsiteY3" fmla="*/ 3663520 h 366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9487" h="3663520">
                <a:moveTo>
                  <a:pt x="0" y="0"/>
                </a:moveTo>
                <a:lnTo>
                  <a:pt x="3349487" y="0"/>
                </a:lnTo>
                <a:lnTo>
                  <a:pt x="3349487" y="3340021"/>
                </a:lnTo>
                <a:lnTo>
                  <a:pt x="0" y="366352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36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FontTx/>
              <a:buBlip>
                <a:blip r:embed="rId10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64A26B-C22C-4086-8C39-33D2956F5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614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26B43"/>
          </p15:clr>
        </p15:guide>
        <p15:guide id="2" pos="3931">
          <p15:clr>
            <a:srgbClr val="F26B43"/>
          </p15:clr>
        </p15:guide>
        <p15:guide id="3" orient="horz" pos="754">
          <p15:clr>
            <a:srgbClr val="A4A3A4"/>
          </p15:clr>
        </p15:guide>
        <p15:guide id="4" orient="horz" pos="640">
          <p15:clr>
            <a:srgbClr val="A4A3A4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4 Texten und Bildplatzhalter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66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5843A7F5-0182-4E82-AFB1-CC53CC8C17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spcAft>
                <a:spcPts val="1200"/>
              </a:spcAft>
            </a:pPr>
            <a:endParaRPr lang="de-DE" sz="2000" kern="6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8" name="Picture Placeholder 63">
            <a:extLst>
              <a:ext uri="{FF2B5EF4-FFF2-40B4-BE49-F238E27FC236}">
                <a16:creationId xmlns:a16="http://schemas.microsoft.com/office/drawing/2014/main" id="{004056D1-7168-4A16-801D-88B4BF20AE3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1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6251894B-5D3F-C541-B52A-E62499E80655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C8A9898-6DBB-4A1B-9BF7-F1646A33EEF4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660C2763-BC88-455C-AAAD-7B895AF9C3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4" y="1196975"/>
            <a:ext cx="2448618" cy="4372796"/>
          </a:xfrm>
          <a:custGeom>
            <a:avLst/>
            <a:gdLst>
              <a:gd name="connsiteX0" fmla="*/ 0 w 2448618"/>
              <a:gd name="connsiteY0" fmla="*/ 0 h 4372796"/>
              <a:gd name="connsiteX1" fmla="*/ 2448618 w 2448618"/>
              <a:gd name="connsiteY1" fmla="*/ 0 h 4372796"/>
              <a:gd name="connsiteX2" fmla="*/ 2448618 w 2448618"/>
              <a:gd name="connsiteY2" fmla="*/ 4137206 h 4372796"/>
              <a:gd name="connsiteX3" fmla="*/ 0 w 2448618"/>
              <a:gd name="connsiteY3" fmla="*/ 4372796 h 4372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18" h="4372796">
                <a:moveTo>
                  <a:pt x="0" y="0"/>
                </a:moveTo>
                <a:lnTo>
                  <a:pt x="2448618" y="0"/>
                </a:lnTo>
                <a:lnTo>
                  <a:pt x="2448618" y="4137206"/>
                </a:lnTo>
                <a:lnTo>
                  <a:pt x="0" y="4372796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180000" tIns="360000" rIns="180000" bIns="360000">
            <a:noAutofit/>
          </a:bodyPr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A9140D73-F6BF-406C-9D0F-2CFB8641E10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03381" y="1196975"/>
            <a:ext cx="2448620" cy="4109497"/>
          </a:xfrm>
          <a:custGeom>
            <a:avLst/>
            <a:gdLst>
              <a:gd name="connsiteX0" fmla="*/ 0 w 2448620"/>
              <a:gd name="connsiteY0" fmla="*/ 0 h 4109497"/>
              <a:gd name="connsiteX1" fmla="*/ 2448620 w 2448620"/>
              <a:gd name="connsiteY1" fmla="*/ 0 h 4109497"/>
              <a:gd name="connsiteX2" fmla="*/ 2448620 w 2448620"/>
              <a:gd name="connsiteY2" fmla="*/ 3873906 h 4109497"/>
              <a:gd name="connsiteX3" fmla="*/ 0 w 2448620"/>
              <a:gd name="connsiteY3" fmla="*/ 4109497 h 4109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20" h="4109497">
                <a:moveTo>
                  <a:pt x="0" y="0"/>
                </a:moveTo>
                <a:lnTo>
                  <a:pt x="2448620" y="0"/>
                </a:lnTo>
                <a:lnTo>
                  <a:pt x="2448620" y="3873906"/>
                </a:lnTo>
                <a:lnTo>
                  <a:pt x="0" y="410949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80000" tIns="360000" rIns="18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8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0" name="Text Placeholder 57">
            <a:extLst>
              <a:ext uri="{FF2B5EF4-FFF2-40B4-BE49-F238E27FC236}">
                <a16:creationId xmlns:a16="http://schemas.microsoft.com/office/drawing/2014/main" id="{586CA799-B057-44C7-99C4-6F70BBC17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6540" y="3833610"/>
            <a:ext cx="2069066" cy="1715020"/>
          </a:xfrm>
          <a:blipFill>
            <a:blip r:embed="rId9"/>
            <a:stretch>
              <a:fillRect l="117"/>
            </a:stretch>
          </a:blipFill>
        </p:spPr>
        <p:txBody>
          <a:bodyPr anchor="ctr"/>
          <a:lstStyle>
            <a:lvl1pPr marL="0" indent="0" algn="ctr">
              <a:buNone/>
              <a:defRPr>
                <a:blipFill>
                  <a:blip r:embed="rId9"/>
                  <a:stretch>
                    <a:fillRect l="117"/>
                  </a:stretch>
                </a:blipFill>
                <a:effectLst>
                  <a:outerShdw blurRad="50800" dist="50800" dir="5400000" algn="ctr" rotWithShape="0">
                    <a:srgbClr val="000000"/>
                  </a:outerShdw>
                </a:effectLst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21" name="Text Placeholder 61">
            <a:extLst>
              <a:ext uri="{FF2B5EF4-FFF2-40B4-BE49-F238E27FC236}">
                <a16:creationId xmlns:a16="http://schemas.microsoft.com/office/drawing/2014/main" id="{E262FA7D-EE7C-450D-8F09-CC7E101E4B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691582" y="4745837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C5F7EFC0-BF14-455E-A781-C964300B7AF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40000" y="1196975"/>
            <a:ext cx="2448618" cy="3846197"/>
          </a:xfrm>
          <a:custGeom>
            <a:avLst/>
            <a:gdLst>
              <a:gd name="connsiteX0" fmla="*/ 0 w 2448618"/>
              <a:gd name="connsiteY0" fmla="*/ 0 h 3846197"/>
              <a:gd name="connsiteX1" fmla="*/ 2448618 w 2448618"/>
              <a:gd name="connsiteY1" fmla="*/ 0 h 3846197"/>
              <a:gd name="connsiteX2" fmla="*/ 2448618 w 2448618"/>
              <a:gd name="connsiteY2" fmla="*/ 3610607 h 3846197"/>
              <a:gd name="connsiteX3" fmla="*/ 0 w 2448618"/>
              <a:gd name="connsiteY3" fmla="*/ 3846197 h 3846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18" h="3846197">
                <a:moveTo>
                  <a:pt x="0" y="0"/>
                </a:moveTo>
                <a:lnTo>
                  <a:pt x="2448618" y="0"/>
                </a:lnTo>
                <a:lnTo>
                  <a:pt x="2448618" y="3610607"/>
                </a:lnTo>
                <a:lnTo>
                  <a:pt x="0" y="3846197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180000" tIns="360000" rIns="180000" bIns="360000">
            <a:noAutofit/>
          </a:bodyPr>
          <a:lstStyle>
            <a:lvl1pPr>
              <a:buClr>
                <a:schemeClr val="tx1"/>
              </a:buClr>
              <a:defRPr spc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pc="0">
                <a:solidFill>
                  <a:schemeClr val="tx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10"/>
              </a:buBlip>
              <a:defRPr spc="0">
                <a:solidFill>
                  <a:schemeClr val="tx1"/>
                </a:solidFill>
              </a:defRPr>
            </a:lvl3pPr>
            <a:lvl4pPr>
              <a:defRPr spc="0">
                <a:solidFill>
                  <a:schemeClr val="tx1"/>
                </a:solidFill>
              </a:defRPr>
            </a:lvl4pPr>
            <a:lvl5pPr>
              <a:defRPr spc="0">
                <a:solidFill>
                  <a:schemeClr val="tx1"/>
                </a:solidFill>
              </a:defRPr>
            </a:lvl5pPr>
            <a:lvl6pPr>
              <a:defRPr spc="0">
                <a:solidFill>
                  <a:schemeClr val="tx1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BA3D35E0-AEA6-4F9B-BC48-9FA4EB495B4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976618" y="1196975"/>
            <a:ext cx="2448618" cy="3582896"/>
          </a:xfrm>
          <a:custGeom>
            <a:avLst/>
            <a:gdLst>
              <a:gd name="connsiteX0" fmla="*/ 0 w 2448618"/>
              <a:gd name="connsiteY0" fmla="*/ 0 h 3582896"/>
              <a:gd name="connsiteX1" fmla="*/ 2448618 w 2448618"/>
              <a:gd name="connsiteY1" fmla="*/ 0 h 3582896"/>
              <a:gd name="connsiteX2" fmla="*/ 2448618 w 2448618"/>
              <a:gd name="connsiteY2" fmla="*/ 3347306 h 3582896"/>
              <a:gd name="connsiteX3" fmla="*/ 0 w 2448618"/>
              <a:gd name="connsiteY3" fmla="*/ 3582896 h 3582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18" h="3582896">
                <a:moveTo>
                  <a:pt x="0" y="0"/>
                </a:moveTo>
                <a:lnTo>
                  <a:pt x="2448618" y="0"/>
                </a:lnTo>
                <a:lnTo>
                  <a:pt x="2448618" y="3347306"/>
                </a:lnTo>
                <a:lnTo>
                  <a:pt x="0" y="3582896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180000" tIns="360000" rIns="180000" bIns="360000">
            <a:noAutofit/>
          </a:bodyPr>
          <a:lstStyle>
            <a:lvl1pPr>
              <a:buClr>
                <a:schemeClr val="tx1"/>
              </a:buClr>
              <a:defRPr spc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pc="0">
                <a:solidFill>
                  <a:schemeClr val="tx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10"/>
              </a:buBlip>
              <a:defRPr spc="0">
                <a:solidFill>
                  <a:schemeClr val="tx1"/>
                </a:solidFill>
              </a:defRPr>
            </a:lvl3pPr>
            <a:lvl4pPr>
              <a:defRPr spc="0">
                <a:solidFill>
                  <a:schemeClr val="tx1"/>
                </a:solidFill>
              </a:defRPr>
            </a:lvl4pPr>
            <a:lvl5pPr>
              <a:defRPr spc="0">
                <a:solidFill>
                  <a:schemeClr val="tx1"/>
                </a:solidFill>
              </a:defRPr>
            </a:lvl5pPr>
            <a:lvl6pPr>
              <a:defRPr spc="0">
                <a:solidFill>
                  <a:schemeClr val="tx1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665825-B006-4439-895F-85E2862B5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841923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26B43"/>
          </p15:clr>
        </p15:guide>
        <p15:guide id="2" pos="3931">
          <p15:clr>
            <a:srgbClr val="F26B43"/>
          </p15:clr>
        </p15:guide>
        <p15:guide id="3" orient="horz" pos="754">
          <p15:clr>
            <a:srgbClr val="A4A3A4"/>
          </p15:clr>
        </p15:guide>
        <p15:guide id="4" orient="horz" pos="640">
          <p15:clr>
            <a:srgbClr val="A4A3A4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 // Titel mit 4 Texten und Bilplatzhalter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9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de-DE" sz="1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625D8821-8842-4553-8668-637C54FDB7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03725" y="1016000"/>
            <a:ext cx="3384550" cy="4133637"/>
          </a:xfrm>
        </p:spPr>
        <p:txBody>
          <a:bodyPr/>
          <a:lstStyle>
            <a:lvl1pPr>
              <a:defRPr spc="0"/>
            </a:lvl1pPr>
            <a:lvl2pPr>
              <a:defRPr spc="0"/>
            </a:lvl2pPr>
            <a:lvl3pPr>
              <a:defRPr spc="0"/>
            </a:lvl3pPr>
            <a:lvl4pPr>
              <a:defRPr spc="0"/>
            </a:lvl4pPr>
            <a:lvl5pPr>
              <a:defRPr spc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Freihandform: Form 27">
            <a:extLst>
              <a:ext uri="{FF2B5EF4-FFF2-40B4-BE49-F238E27FC236}">
                <a16:creationId xmlns:a16="http://schemas.microsoft.com/office/drawing/2014/main" id="{1ED9DF6D-8878-44AC-A12C-893F4576467C}"/>
              </a:ext>
            </a:extLst>
          </p:cNvPr>
          <p:cNvSpPr/>
          <p:nvPr userDrawn="1"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21CE8BDA-8958-48E7-8115-79B458038B4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4D13CA-3680-4529-B6B5-9F0A749058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A88AD8-3CFE-481A-9582-168235F0B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CD9C935-DFD8-4C1F-A4AF-B70F53B25DFD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15" name="Freeform 40">
              <a:extLst>
                <a:ext uri="{FF2B5EF4-FFF2-40B4-BE49-F238E27FC236}">
                  <a16:creationId xmlns:a16="http://schemas.microsoft.com/office/drawing/2014/main" id="{589340FF-7D32-47A8-8449-1C2A489DA5B3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tx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6" name="Freeform 41">
              <a:extLst>
                <a:ext uri="{FF2B5EF4-FFF2-40B4-BE49-F238E27FC236}">
                  <a16:creationId xmlns:a16="http://schemas.microsoft.com/office/drawing/2014/main" id="{4F07A579-28CA-49F5-9EEC-EB5412BEBA56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226C4E4-A2B3-4F91-ACF4-1386A1141A75}"/>
              </a:ext>
            </a:extLst>
          </p:cNvPr>
          <p:cNvGrpSpPr/>
          <p:nvPr/>
        </p:nvGrpSpPr>
        <p:grpSpPr>
          <a:xfrm>
            <a:off x="0" y="1009784"/>
            <a:ext cx="4130243" cy="2397344"/>
            <a:chOff x="-1" y="825214"/>
            <a:chExt cx="3438312" cy="1995722"/>
          </a:xfrm>
          <a:solidFill>
            <a:schemeClr val="accent1"/>
          </a:solidFill>
        </p:grpSpPr>
        <p:sp>
          <p:nvSpPr>
            <p:cNvPr id="20" name="Freeform 1">
              <a:extLst>
                <a:ext uri="{FF2B5EF4-FFF2-40B4-BE49-F238E27FC236}">
                  <a16:creationId xmlns:a16="http://schemas.microsoft.com/office/drawing/2014/main" id="{85B15F81-C7C5-4BF1-8B09-16557ED89E46}"/>
                </a:ext>
              </a:extLst>
            </p:cNvPr>
            <p:cNvSpPr/>
            <p:nvPr/>
          </p:nvSpPr>
          <p:spPr>
            <a:xfrm rot="10800000">
              <a:off x="-1" y="825214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B52C9D7B-3DEC-4F20-A960-0AB2B7912A0C}"/>
                </a:ext>
              </a:extLst>
            </p:cNvPr>
            <p:cNvSpPr/>
            <p:nvPr/>
          </p:nvSpPr>
          <p:spPr>
            <a:xfrm rot="10800000">
              <a:off x="-1" y="969511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9A017E0-97E1-40BF-A118-EF8F27D51FAB}"/>
              </a:ext>
            </a:extLst>
          </p:cNvPr>
          <p:cNvGrpSpPr/>
          <p:nvPr/>
        </p:nvGrpSpPr>
        <p:grpSpPr>
          <a:xfrm>
            <a:off x="0" y="3281931"/>
            <a:ext cx="4130243" cy="2397344"/>
            <a:chOff x="-1" y="825214"/>
            <a:chExt cx="3438312" cy="1995722"/>
          </a:xfrm>
          <a:solidFill>
            <a:schemeClr val="accent1"/>
          </a:solidFill>
        </p:grpSpPr>
        <p:sp>
          <p:nvSpPr>
            <p:cNvPr id="29" name="Freeform 24">
              <a:extLst>
                <a:ext uri="{FF2B5EF4-FFF2-40B4-BE49-F238E27FC236}">
                  <a16:creationId xmlns:a16="http://schemas.microsoft.com/office/drawing/2014/main" id="{42A5AD33-28B5-4788-AB7B-7039FE3889C2}"/>
                </a:ext>
              </a:extLst>
            </p:cNvPr>
            <p:cNvSpPr/>
            <p:nvPr/>
          </p:nvSpPr>
          <p:spPr>
            <a:xfrm rot="10800000">
              <a:off x="-1" y="825214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30" name="Freeform 25">
              <a:extLst>
                <a:ext uri="{FF2B5EF4-FFF2-40B4-BE49-F238E27FC236}">
                  <a16:creationId xmlns:a16="http://schemas.microsoft.com/office/drawing/2014/main" id="{B2621DED-4F6C-4FC0-80E4-5B670F3B1177}"/>
                </a:ext>
              </a:extLst>
            </p:cNvPr>
            <p:cNvSpPr/>
            <p:nvPr/>
          </p:nvSpPr>
          <p:spPr>
            <a:xfrm rot="10800000">
              <a:off x="-1" y="969511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2EEF72E3-984A-4E1D-B3E5-A8C8F728969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89468" y="1016000"/>
            <a:ext cx="3335770" cy="3655357"/>
          </a:xfrm>
        </p:spPr>
        <p:txBody>
          <a:bodyPr/>
          <a:lstStyle>
            <a:lvl1pPr>
              <a:defRPr spc="0"/>
            </a:lvl1pPr>
            <a:lvl2pPr>
              <a:defRPr spc="0"/>
            </a:lvl2pPr>
            <a:lvl3pPr>
              <a:defRPr spc="0"/>
            </a:lvl3pPr>
            <a:lvl4pPr>
              <a:defRPr spc="0"/>
            </a:lvl4pPr>
            <a:lvl5pPr>
              <a:defRPr spc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175DEA8E-1BB4-4543-A778-82112E437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2768" y="1481408"/>
            <a:ext cx="3289360" cy="1671470"/>
          </a:xfrm>
        </p:spPr>
        <p:txBody>
          <a:bodyPr anchor="ctr">
            <a:noAutofit/>
          </a:bodyPr>
          <a:lstStyle>
            <a:lvl1pPr marL="0" indent="0">
              <a:buNone/>
              <a:defRPr sz="1200" spc="0">
                <a:solidFill>
                  <a:schemeClr val="bg1"/>
                </a:solidFill>
              </a:defRPr>
            </a:lvl1pPr>
            <a:lvl2pPr marL="358775" indent="0">
              <a:buNone/>
              <a:defRPr sz="1200"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8" name="Text Placeholder 34">
            <a:extLst>
              <a:ext uri="{FF2B5EF4-FFF2-40B4-BE49-F238E27FC236}">
                <a16:creationId xmlns:a16="http://schemas.microsoft.com/office/drawing/2014/main" id="{E6C97D9E-74F8-4B39-BB82-1BCFEB4908C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2768" y="3760730"/>
            <a:ext cx="3289360" cy="1671470"/>
          </a:xfrm>
        </p:spPr>
        <p:txBody>
          <a:bodyPr anchor="ctr">
            <a:noAutofit/>
          </a:bodyPr>
          <a:lstStyle>
            <a:lvl1pPr marL="0" indent="0">
              <a:buNone/>
              <a:defRPr sz="1200" spc="0">
                <a:solidFill>
                  <a:schemeClr val="bg1"/>
                </a:solidFill>
              </a:defRPr>
            </a:lvl1pPr>
            <a:lvl2pPr marL="358775" indent="0">
              <a:buNone/>
              <a:defRPr sz="1200"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9" name="Text Placeholder 61">
            <a:extLst>
              <a:ext uri="{FF2B5EF4-FFF2-40B4-BE49-F238E27FC236}">
                <a16:creationId xmlns:a16="http://schemas.microsoft.com/office/drawing/2014/main" id="{7E867A1C-F2D3-4594-962F-3D4EDD6E5E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64262" y="2738352"/>
            <a:ext cx="1105200" cy="1105200"/>
          </a:xfrm>
          <a:prstGeom prst="ellipse">
            <a:avLst/>
          </a:prstGeom>
          <a:solidFill>
            <a:srgbClr val="FFC000"/>
          </a:solidFill>
        </p:spPr>
        <p:txBody>
          <a:bodyPr lIns="36000" tIns="36000" rIns="36000" bIns="36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71498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26B43"/>
          </p15:clr>
        </p15:guide>
        <p15:guide id="2" orient="horz" pos="731">
          <p15:clr>
            <a:srgbClr val="FFFFFF"/>
          </p15:clr>
        </p15:guide>
        <p15:guide id="3" orient="horz" pos="210">
          <p15:clr>
            <a:srgbClr val="A4A3A4"/>
          </p15:clr>
        </p15:guide>
        <p15:guide id="4" pos="2774">
          <p15:clr>
            <a:srgbClr val="F26B43"/>
          </p15:clr>
        </p15:guide>
        <p15:guide id="5" pos="2389">
          <p15:clr>
            <a:srgbClr val="F26B43"/>
          </p15:clr>
        </p15:guide>
        <p15:guide id="6" pos="279">
          <p15:clr>
            <a:srgbClr val="F26B43"/>
          </p15:clr>
        </p15:guide>
        <p15:guide id="7" pos="4906">
          <p15:clr>
            <a:srgbClr val="F26B43"/>
          </p15:clr>
        </p15:guide>
        <p15:guide id="8" pos="5087">
          <p15:clr>
            <a:srgbClr val="F26B43"/>
          </p15:clr>
        </p15:guide>
        <p15:guide id="9" orient="horz" pos="1185">
          <p15:clr>
            <a:srgbClr val="F26B43"/>
          </p15:clr>
        </p15:guide>
        <p15:guide id="10" pos="483">
          <p15:clr>
            <a:srgbClr val="A4A3A4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WARZ // Titel mit 4 Texten und Bilplatzhalter (unten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1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de-DE" sz="1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825F47CB-5D49-4D48-90E7-17EFE25C6DD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625D8821-8842-4553-8668-637C54FDB7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03725" y="1038360"/>
            <a:ext cx="3384550" cy="4139853"/>
          </a:xfrm>
        </p:spPr>
        <p:txBody>
          <a:bodyPr/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Freihandform: Form 27">
            <a:extLst>
              <a:ext uri="{FF2B5EF4-FFF2-40B4-BE49-F238E27FC236}">
                <a16:creationId xmlns:a16="http://schemas.microsoft.com/office/drawing/2014/main" id="{1ED9DF6D-8878-44AC-A12C-893F4576467C}"/>
              </a:ext>
            </a:extLst>
          </p:cNvPr>
          <p:cNvSpPr/>
          <p:nvPr userDrawn="1"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4D13CA-3680-4529-B6B5-9F0A749058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A88AD8-3CFE-481A-9582-168235F0B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CD9C935-DFD8-4C1F-A4AF-B70F53B25DFD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15" name="Freeform 40">
              <a:extLst>
                <a:ext uri="{FF2B5EF4-FFF2-40B4-BE49-F238E27FC236}">
                  <a16:creationId xmlns:a16="http://schemas.microsoft.com/office/drawing/2014/main" id="{589340FF-7D32-47A8-8449-1C2A489DA5B3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tx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6" name="Freeform 41">
              <a:extLst>
                <a:ext uri="{FF2B5EF4-FFF2-40B4-BE49-F238E27FC236}">
                  <a16:creationId xmlns:a16="http://schemas.microsoft.com/office/drawing/2014/main" id="{4F07A579-28CA-49F5-9EEC-EB5412BEBA56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226C4E4-A2B3-4F91-ACF4-1386A1141A75}"/>
              </a:ext>
            </a:extLst>
          </p:cNvPr>
          <p:cNvGrpSpPr/>
          <p:nvPr/>
        </p:nvGrpSpPr>
        <p:grpSpPr>
          <a:xfrm>
            <a:off x="0" y="1009784"/>
            <a:ext cx="4130243" cy="2397344"/>
            <a:chOff x="-1" y="825214"/>
            <a:chExt cx="3438312" cy="1995722"/>
          </a:xfrm>
          <a:solidFill>
            <a:schemeClr val="accent1"/>
          </a:solidFill>
        </p:grpSpPr>
        <p:sp>
          <p:nvSpPr>
            <p:cNvPr id="20" name="Freeform 1">
              <a:extLst>
                <a:ext uri="{FF2B5EF4-FFF2-40B4-BE49-F238E27FC236}">
                  <a16:creationId xmlns:a16="http://schemas.microsoft.com/office/drawing/2014/main" id="{85B15F81-C7C5-4BF1-8B09-16557ED89E46}"/>
                </a:ext>
              </a:extLst>
            </p:cNvPr>
            <p:cNvSpPr/>
            <p:nvPr/>
          </p:nvSpPr>
          <p:spPr>
            <a:xfrm rot="10800000">
              <a:off x="-1" y="825214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B52C9D7B-3DEC-4F20-A960-0AB2B7912A0C}"/>
                </a:ext>
              </a:extLst>
            </p:cNvPr>
            <p:cNvSpPr/>
            <p:nvPr/>
          </p:nvSpPr>
          <p:spPr>
            <a:xfrm rot="10800000">
              <a:off x="-1" y="969511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9A017E0-97E1-40BF-A118-EF8F27D51FAB}"/>
              </a:ext>
            </a:extLst>
          </p:cNvPr>
          <p:cNvGrpSpPr/>
          <p:nvPr/>
        </p:nvGrpSpPr>
        <p:grpSpPr>
          <a:xfrm>
            <a:off x="0" y="3281931"/>
            <a:ext cx="4130243" cy="2397344"/>
            <a:chOff x="-1" y="825214"/>
            <a:chExt cx="3438312" cy="1995722"/>
          </a:xfrm>
          <a:solidFill>
            <a:schemeClr val="accent1"/>
          </a:solidFill>
        </p:grpSpPr>
        <p:sp>
          <p:nvSpPr>
            <p:cNvPr id="29" name="Freeform 24">
              <a:extLst>
                <a:ext uri="{FF2B5EF4-FFF2-40B4-BE49-F238E27FC236}">
                  <a16:creationId xmlns:a16="http://schemas.microsoft.com/office/drawing/2014/main" id="{42A5AD33-28B5-4788-AB7B-7039FE3889C2}"/>
                </a:ext>
              </a:extLst>
            </p:cNvPr>
            <p:cNvSpPr/>
            <p:nvPr/>
          </p:nvSpPr>
          <p:spPr>
            <a:xfrm rot="10800000">
              <a:off x="-1" y="825214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30" name="Freeform 25">
              <a:extLst>
                <a:ext uri="{FF2B5EF4-FFF2-40B4-BE49-F238E27FC236}">
                  <a16:creationId xmlns:a16="http://schemas.microsoft.com/office/drawing/2014/main" id="{B2621DED-4F6C-4FC0-80E4-5B670F3B1177}"/>
                </a:ext>
              </a:extLst>
            </p:cNvPr>
            <p:cNvSpPr/>
            <p:nvPr/>
          </p:nvSpPr>
          <p:spPr>
            <a:xfrm rot="10800000">
              <a:off x="-1" y="969511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2EEF72E3-984A-4E1D-B3E5-A8C8F728969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89468" y="1038360"/>
            <a:ext cx="3335770" cy="3660853"/>
          </a:xfrm>
        </p:spPr>
        <p:txBody>
          <a:bodyPr/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175DEA8E-1BB4-4543-A778-82112E437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2768" y="1481408"/>
            <a:ext cx="3289360" cy="1671470"/>
          </a:xfrm>
        </p:spPr>
        <p:txBody>
          <a:bodyPr anchor="ctr">
            <a:noAutofit/>
          </a:bodyPr>
          <a:lstStyle>
            <a:lvl1pPr marL="0" indent="0">
              <a:buNone/>
              <a:defRPr sz="1200" spc="0">
                <a:solidFill>
                  <a:schemeClr val="bg1"/>
                </a:solidFill>
              </a:defRPr>
            </a:lvl1pPr>
            <a:lvl2pPr marL="358775" indent="0">
              <a:buNone/>
              <a:defRPr sz="1200"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8" name="Text Placeholder 34">
            <a:extLst>
              <a:ext uri="{FF2B5EF4-FFF2-40B4-BE49-F238E27FC236}">
                <a16:creationId xmlns:a16="http://schemas.microsoft.com/office/drawing/2014/main" id="{E6C97D9E-74F8-4B39-BB82-1BCFEB4908C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2768" y="3760730"/>
            <a:ext cx="3289360" cy="1671470"/>
          </a:xfrm>
        </p:spPr>
        <p:txBody>
          <a:bodyPr anchor="ctr">
            <a:noAutofit/>
          </a:bodyPr>
          <a:lstStyle>
            <a:lvl1pPr marL="0" indent="0">
              <a:buNone/>
              <a:defRPr sz="1200" spc="0">
                <a:solidFill>
                  <a:schemeClr val="bg1"/>
                </a:solidFill>
              </a:defRPr>
            </a:lvl1pPr>
            <a:lvl2pPr marL="358775" indent="0">
              <a:buNone/>
              <a:defRPr sz="1200"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9" name="Text Placeholder 61">
            <a:extLst>
              <a:ext uri="{FF2B5EF4-FFF2-40B4-BE49-F238E27FC236}">
                <a16:creationId xmlns:a16="http://schemas.microsoft.com/office/drawing/2014/main" id="{7E867A1C-F2D3-4594-962F-3D4EDD6E5E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64262" y="2738352"/>
            <a:ext cx="1105200" cy="1105200"/>
          </a:xfrm>
          <a:prstGeom prst="ellipse">
            <a:avLst/>
          </a:prstGeom>
          <a:solidFill>
            <a:srgbClr val="FFC000"/>
          </a:solidFill>
        </p:spPr>
        <p:txBody>
          <a:bodyPr lIns="36000" tIns="36000" rIns="36000" bIns="36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25" name="Freihandform: Form 27">
            <a:extLst>
              <a:ext uri="{FF2B5EF4-FFF2-40B4-BE49-F238E27FC236}">
                <a16:creationId xmlns:a16="http://schemas.microsoft.com/office/drawing/2014/main" id="{33F3E23B-8741-48BD-93C7-936EFB1280EA}"/>
              </a:ext>
            </a:extLst>
          </p:cNvPr>
          <p:cNvSpPr/>
          <p:nvPr userDrawn="1"/>
        </p:nvSpPr>
        <p:spPr>
          <a:xfrm rot="10800000">
            <a:off x="-2" y="0"/>
            <a:ext cx="3976603" cy="400345"/>
          </a:xfrm>
          <a:custGeom>
            <a:avLst/>
            <a:gdLst>
              <a:gd name="connsiteX0" fmla="*/ 3976603 w 3976603"/>
              <a:gd name="connsiteY0" fmla="*/ 400345 h 400345"/>
              <a:gd name="connsiteX1" fmla="*/ 0 w 3976603"/>
              <a:gd name="connsiteY1" fmla="*/ 400345 h 400345"/>
              <a:gd name="connsiteX2" fmla="*/ 3976603 w 3976603"/>
              <a:gd name="connsiteY2" fmla="*/ 0 h 400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976603" h="400345">
                <a:moveTo>
                  <a:pt x="3976603" y="400345"/>
                </a:moveTo>
                <a:lnTo>
                  <a:pt x="0" y="400345"/>
                </a:lnTo>
                <a:lnTo>
                  <a:pt x="3976603" y="0"/>
                </a:lnTo>
                <a:close/>
              </a:path>
            </a:pathLst>
          </a:custGeom>
          <a:solidFill>
            <a:schemeClr val="accent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7596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74">
          <p15:clr>
            <a:srgbClr val="F26B43"/>
          </p15:clr>
        </p15:guide>
        <p15:guide id="2" pos="4906">
          <p15:clr>
            <a:srgbClr val="F26B43"/>
          </p15:clr>
        </p15:guide>
        <p15:guide id="3" pos="5087">
          <p15:clr>
            <a:srgbClr val="F26B43"/>
          </p15:clr>
        </p15:guide>
        <p15:guide id="4" pos="2366">
          <p15:clr>
            <a:srgbClr val="F26B43"/>
          </p15:clr>
        </p15:guide>
        <p15:guide id="5" pos="279">
          <p15:clr>
            <a:srgbClr val="F26B43"/>
          </p15:clr>
        </p15:guide>
        <p15:guide id="6" pos="483">
          <p15:clr>
            <a:srgbClr val="A4A3A4"/>
          </p15:clr>
        </p15:guide>
        <p15:guide id="7" orient="horz" pos="754">
          <p15:clr>
            <a:srgbClr val="A4A3A4"/>
          </p15:clr>
        </p15:guide>
        <p15:guide id="8" orient="horz" pos="210">
          <p15:clr>
            <a:srgbClr val="A4A3A4"/>
          </p15:clr>
        </p15:guide>
        <p15:guide id="9" orient="horz" pos="1071">
          <p15:clr>
            <a:srgbClr val="F26B43"/>
          </p15:clr>
        </p15:guide>
        <p15:guide id="10" orient="horz" pos="1185">
          <p15:clr>
            <a:srgbClr val="F26B43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 // Titel mit Text und Bildplatzhalter (link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B210DD08-1A6C-D749-AE2F-8AD16051E71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297397"/>
            <a:ext cx="7788277" cy="5396530"/>
          </a:xfrm>
          <a:custGeom>
            <a:avLst/>
            <a:gdLst>
              <a:gd name="connsiteX0" fmla="*/ 7788277 w 7788277"/>
              <a:gd name="connsiteY0" fmla="*/ 0 h 5396530"/>
              <a:gd name="connsiteX1" fmla="*/ 7788277 w 7788277"/>
              <a:gd name="connsiteY1" fmla="*/ 35829 h 5396530"/>
              <a:gd name="connsiteX2" fmla="*/ 7788277 w 7788277"/>
              <a:gd name="connsiteY2" fmla="*/ 4609377 h 5396530"/>
              <a:gd name="connsiteX3" fmla="*/ 7788277 w 7788277"/>
              <a:gd name="connsiteY3" fmla="*/ 4645206 h 5396530"/>
              <a:gd name="connsiteX4" fmla="*/ 0 w 7788277"/>
              <a:gd name="connsiteY4" fmla="*/ 5396530 h 5396530"/>
              <a:gd name="connsiteX5" fmla="*/ 0 w 7788277"/>
              <a:gd name="connsiteY5" fmla="*/ 5360701 h 5396530"/>
              <a:gd name="connsiteX6" fmla="*/ 0 w 7788277"/>
              <a:gd name="connsiteY6" fmla="*/ 819915 h 5396530"/>
              <a:gd name="connsiteX7" fmla="*/ 0 w 7788277"/>
              <a:gd name="connsiteY7" fmla="*/ 784086 h 5396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88277" h="5396530">
                <a:moveTo>
                  <a:pt x="7788277" y="0"/>
                </a:moveTo>
                <a:lnTo>
                  <a:pt x="7788277" y="35829"/>
                </a:lnTo>
                <a:lnTo>
                  <a:pt x="7788277" y="4609377"/>
                </a:lnTo>
                <a:lnTo>
                  <a:pt x="7788277" y="4645206"/>
                </a:lnTo>
                <a:lnTo>
                  <a:pt x="0" y="5396530"/>
                </a:lnTo>
                <a:lnTo>
                  <a:pt x="0" y="5360701"/>
                </a:lnTo>
                <a:lnTo>
                  <a:pt x="0" y="819915"/>
                </a:lnTo>
                <a:lnTo>
                  <a:pt x="0" y="78408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de-DE" sz="1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6" name="Freeform 6">
            <a:extLst>
              <a:ext uri="{FF2B5EF4-FFF2-40B4-BE49-F238E27FC236}">
                <a16:creationId xmlns:a16="http://schemas.microsoft.com/office/drawing/2014/main" id="{67FF8414-8E5A-459A-9165-71FF071DA875}"/>
              </a:ext>
            </a:extLst>
          </p:cNvPr>
          <p:cNvSpPr/>
          <p:nvPr userDrawn="1"/>
        </p:nvSpPr>
        <p:spPr>
          <a:xfrm>
            <a:off x="-14320" y="4773329"/>
            <a:ext cx="12206319" cy="2084670"/>
          </a:xfrm>
          <a:custGeom>
            <a:avLst/>
            <a:gdLst>
              <a:gd name="connsiteX0" fmla="*/ 12206319 w 12206319"/>
              <a:gd name="connsiteY0" fmla="*/ 0 h 2084670"/>
              <a:gd name="connsiteX1" fmla="*/ 12206319 w 12206319"/>
              <a:gd name="connsiteY1" fmla="*/ 581488 h 2084670"/>
              <a:gd name="connsiteX2" fmla="*/ 12206319 w 12206319"/>
              <a:gd name="connsiteY2" fmla="*/ 1177527 h 2084670"/>
              <a:gd name="connsiteX3" fmla="*/ 12206319 w 12206319"/>
              <a:gd name="connsiteY3" fmla="*/ 2084670 h 2084670"/>
              <a:gd name="connsiteX4" fmla="*/ 0 w 12206319"/>
              <a:gd name="connsiteY4" fmla="*/ 2084670 h 2084670"/>
              <a:gd name="connsiteX5" fmla="*/ 0 w 12206319"/>
              <a:gd name="connsiteY5" fmla="*/ 1177527 h 20846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06319" h="2084670">
                <a:moveTo>
                  <a:pt x="12206319" y="0"/>
                </a:moveTo>
                <a:lnTo>
                  <a:pt x="12206319" y="581488"/>
                </a:lnTo>
                <a:lnTo>
                  <a:pt x="12206319" y="1177527"/>
                </a:lnTo>
                <a:lnTo>
                  <a:pt x="12206319" y="2084670"/>
                </a:lnTo>
                <a:lnTo>
                  <a:pt x="0" y="2084670"/>
                </a:lnTo>
                <a:lnTo>
                  <a:pt x="0" y="1177527"/>
                </a:lnTo>
                <a:close/>
              </a:path>
            </a:pathLst>
          </a:custGeom>
          <a:solidFill>
            <a:schemeClr val="accent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28" name="Freeform 75">
            <a:extLst>
              <a:ext uri="{FF2B5EF4-FFF2-40B4-BE49-F238E27FC236}">
                <a16:creationId xmlns:a16="http://schemas.microsoft.com/office/drawing/2014/main" id="{2CFF6931-BFFB-4A62-B2EA-3CB764125AD2}"/>
              </a:ext>
            </a:extLst>
          </p:cNvPr>
          <p:cNvSpPr/>
          <p:nvPr userDrawn="1"/>
        </p:nvSpPr>
        <p:spPr>
          <a:xfrm>
            <a:off x="8922326" y="5213506"/>
            <a:ext cx="2284395" cy="1894178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D9E003">
              <a:alpha val="2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rgbClr val="FFFFFF"/>
              </a:solidFill>
            </a:endParaRPr>
          </a:p>
        </p:txBody>
      </p:sp>
      <p:sp>
        <p:nvSpPr>
          <p:cNvPr id="8" name="Freihandform: Form 27">
            <a:extLst>
              <a:ext uri="{FF2B5EF4-FFF2-40B4-BE49-F238E27FC236}">
                <a16:creationId xmlns:a16="http://schemas.microsoft.com/office/drawing/2014/main" id="{1ED9DF6D-8878-44AC-A12C-893F4576467C}"/>
              </a:ext>
            </a:extLst>
          </p:cNvPr>
          <p:cNvSpPr/>
          <p:nvPr userDrawn="1"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4D13CA-3680-4529-B6B5-9F0A749058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A88AD8-3CFE-481A-9582-168235F0B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CD9C935-DFD8-4C1F-A4AF-B70F53B25DFD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15" name="Freeform 40">
              <a:extLst>
                <a:ext uri="{FF2B5EF4-FFF2-40B4-BE49-F238E27FC236}">
                  <a16:creationId xmlns:a16="http://schemas.microsoft.com/office/drawing/2014/main" id="{589340FF-7D32-47A8-8449-1C2A489DA5B3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tx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6" name="Freeform 41">
              <a:extLst>
                <a:ext uri="{FF2B5EF4-FFF2-40B4-BE49-F238E27FC236}">
                  <a16:creationId xmlns:a16="http://schemas.microsoft.com/office/drawing/2014/main" id="{4F07A579-28CA-49F5-9EEC-EB5412BEBA56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39" name="Text Placeholder 61">
            <a:extLst>
              <a:ext uri="{FF2B5EF4-FFF2-40B4-BE49-F238E27FC236}">
                <a16:creationId xmlns:a16="http://schemas.microsoft.com/office/drawing/2014/main" id="{7E867A1C-F2D3-4594-962F-3D4EDD6E5E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7083" y="4447708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29" name="Text Placeholder 34">
            <a:extLst>
              <a:ext uri="{FF2B5EF4-FFF2-40B4-BE49-F238E27FC236}">
                <a16:creationId xmlns:a16="http://schemas.microsoft.com/office/drawing/2014/main" id="{20E344C6-0D9D-48BE-A8DB-BA19B21C3A4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89468" y="1016000"/>
            <a:ext cx="3335770" cy="3757329"/>
          </a:xfrm>
        </p:spPr>
        <p:txBody>
          <a:bodyPr/>
          <a:lstStyle>
            <a:lvl1pPr marL="0" indent="0">
              <a:buNone/>
              <a:defRPr b="1" spc="0">
                <a:solidFill>
                  <a:schemeClr val="tx1"/>
                </a:solidFill>
              </a:defRPr>
            </a:lvl1pPr>
            <a:lvl2pPr marL="0" indent="0">
              <a:buNone/>
              <a:defRPr spc="0">
                <a:solidFill>
                  <a:schemeClr val="tx1"/>
                </a:solidFill>
              </a:defRPr>
            </a:lvl2pPr>
            <a:lvl3pPr>
              <a:buClr>
                <a:schemeClr val="tx2"/>
              </a:buClr>
              <a:buSzPct val="100000"/>
              <a:buFont typeface="Arial" panose="020B0604020202020204" pitchFamily="34" charset="0"/>
              <a:buChar char="&gt;"/>
              <a:defRPr spc="0">
                <a:solidFill>
                  <a:schemeClr val="tx1"/>
                </a:solidFill>
              </a:defRPr>
            </a:lvl3pPr>
            <a:lvl4pPr marL="715963" indent="-357188"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&gt;"/>
              <a:defRPr spc="0">
                <a:solidFill>
                  <a:schemeClr val="tx1"/>
                </a:solidFill>
              </a:defRPr>
            </a:lvl4pPr>
            <a:lvl5pPr marL="360363" indent="-360363">
              <a:buSzPct val="130000"/>
              <a:buFontTx/>
              <a:buBlip>
                <a:blip r:embed="rId7"/>
              </a:buBlip>
              <a:defRPr b="0" spc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88074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87">
          <p15:clr>
            <a:srgbClr val="F26B43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folie // Bilplatzhalter mit Text (2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662DB07-81B8-4BDA-8345-7D0D9D3C5C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4098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4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662DB07-81B8-4BDA-8345-7D0D9D3C5C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E2CD7A7C-6BED-4042-88C8-8ACEEFC464C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742301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223370 h 6858000"/>
              <a:gd name="connsiteX3" fmla="*/ 5621103 w 12192000"/>
              <a:gd name="connsiteY3" fmla="*/ 6858000 h 6858000"/>
              <a:gd name="connsiteX4" fmla="*/ 0 w 12192000"/>
              <a:gd name="connsiteY4" fmla="*/ 6858000 h 6858000"/>
              <a:gd name="connsiteX5" fmla="*/ 0 w 12192000"/>
              <a:gd name="connsiteY5" fmla="*/ 1081483 h 6858000"/>
              <a:gd name="connsiteX6" fmla="*/ 1 w 12192000"/>
              <a:gd name="connsiteY6" fmla="*/ 1081483 h 6858000"/>
              <a:gd name="connsiteX7" fmla="*/ 1 w 12192000"/>
              <a:gd name="connsiteY7" fmla="*/ 1081485 h 6858000"/>
              <a:gd name="connsiteX8" fmla="*/ 354 w 12192000"/>
              <a:gd name="connsiteY8" fmla="*/ 108144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10742301" y="0"/>
                </a:moveTo>
                <a:lnTo>
                  <a:pt x="12192000" y="0"/>
                </a:lnTo>
                <a:lnTo>
                  <a:pt x="12192000" y="6223370"/>
                </a:lnTo>
                <a:lnTo>
                  <a:pt x="5621103" y="6858000"/>
                </a:lnTo>
                <a:lnTo>
                  <a:pt x="0" y="6858000"/>
                </a:lnTo>
                <a:lnTo>
                  <a:pt x="0" y="1081483"/>
                </a:lnTo>
                <a:lnTo>
                  <a:pt x="1" y="1081483"/>
                </a:lnTo>
                <a:lnTo>
                  <a:pt x="1" y="1081485"/>
                </a:lnTo>
                <a:lnTo>
                  <a:pt x="354" y="1081447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 bIns="1584000" anchor="b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E9CC2C3-73C3-41F8-A9F3-4DFF1E4B52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4061" y="3092783"/>
            <a:ext cx="9743879" cy="677108"/>
          </a:xfrm>
        </p:spPr>
        <p:txBody>
          <a:bodyPr anchor="ctr">
            <a:spAutoFit/>
          </a:bodyPr>
          <a:lstStyle>
            <a:lvl1pPr marL="0" indent="0" algn="ctr">
              <a:spcAft>
                <a:spcPts val="0"/>
              </a:spcAft>
              <a:buNone/>
              <a:defRPr sz="4400" b="1" kern="600" spc="40" baseline="0">
                <a:solidFill>
                  <a:schemeClr val="tx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5" name="Freihandform: Form 27">
            <a:extLst>
              <a:ext uri="{FF2B5EF4-FFF2-40B4-BE49-F238E27FC236}">
                <a16:creationId xmlns:a16="http://schemas.microsoft.com/office/drawing/2014/main" id="{0C357E27-A970-4422-8105-7EAD4D7908AF}"/>
              </a:ext>
            </a:extLst>
          </p:cNvPr>
          <p:cNvSpPr/>
          <p:nvPr userDrawn="1"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6" name="Freihandform: Form 7">
            <a:extLst>
              <a:ext uri="{FF2B5EF4-FFF2-40B4-BE49-F238E27FC236}">
                <a16:creationId xmlns:a16="http://schemas.microsoft.com/office/drawing/2014/main" id="{7957DB2B-F4FD-4807-890C-1D5FB9FEA0BE}"/>
              </a:ext>
            </a:extLst>
          </p:cNvPr>
          <p:cNvSpPr/>
          <p:nvPr userDrawn="1"/>
        </p:nvSpPr>
        <p:spPr>
          <a:xfrm>
            <a:off x="5621103" y="6223370"/>
            <a:ext cx="6570897" cy="634630"/>
          </a:xfrm>
          <a:custGeom>
            <a:avLst/>
            <a:gdLst>
              <a:gd name="connsiteX0" fmla="*/ 6570897 w 6570897"/>
              <a:gd name="connsiteY0" fmla="*/ 0 h 634630"/>
              <a:gd name="connsiteX1" fmla="*/ 6570897 w 6570897"/>
              <a:gd name="connsiteY1" fmla="*/ 634630 h 634630"/>
              <a:gd name="connsiteX2" fmla="*/ 0 w 6570897"/>
              <a:gd name="connsiteY2" fmla="*/ 634630 h 634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570897" h="634630">
                <a:moveTo>
                  <a:pt x="6570897" y="0"/>
                </a:moveTo>
                <a:lnTo>
                  <a:pt x="6570897" y="634630"/>
                </a:lnTo>
                <a:lnTo>
                  <a:pt x="0" y="634630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t">
            <a:noAutofit/>
          </a:bodyPr>
          <a:lstStyle/>
          <a:p>
            <a:pPr algn="l">
              <a:spcAft>
                <a:spcPts val="1200"/>
              </a:spcAft>
            </a:pPr>
            <a:endParaRPr lang="de-DE" sz="1400" kern="600" spc="0" baseline="0" dirty="0"/>
          </a:p>
        </p:txBody>
      </p:sp>
      <p:grpSp>
        <p:nvGrpSpPr>
          <p:cNvPr id="7" name="Group 13">
            <a:extLst>
              <a:ext uri="{FF2B5EF4-FFF2-40B4-BE49-F238E27FC236}">
                <a16:creationId xmlns:a16="http://schemas.microsoft.com/office/drawing/2014/main" id="{15861EDB-1869-475F-836A-15C14DA44195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8" name="Freeform 40">
              <a:extLst>
                <a:ext uri="{FF2B5EF4-FFF2-40B4-BE49-F238E27FC236}">
                  <a16:creationId xmlns:a16="http://schemas.microsoft.com/office/drawing/2014/main" id="{A0E011BF-9B88-49E3-8AA6-B972D7E9F06B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bg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9" name="Freeform 41">
              <a:extLst>
                <a:ext uri="{FF2B5EF4-FFF2-40B4-BE49-F238E27FC236}">
                  <a16:creationId xmlns:a16="http://schemas.microsoft.com/office/drawing/2014/main" id="{C6C2628F-067A-4F9F-AB6D-583DE89C8BE1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148014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r Bilplatzhalt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6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de-DE" sz="1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2" name="Freihandform: Form 27">
            <a:extLst>
              <a:ext uri="{FF2B5EF4-FFF2-40B4-BE49-F238E27FC236}">
                <a16:creationId xmlns:a16="http://schemas.microsoft.com/office/drawing/2014/main" id="{95D94426-CD31-4CB6-9F92-417C86DD83E5}"/>
              </a:ext>
            </a:extLst>
          </p:cNvPr>
          <p:cNvSpPr/>
          <p:nvPr userDrawn="1"/>
        </p:nvSpPr>
        <p:spPr>
          <a:xfrm rot="10800000" flipH="1" flipV="1">
            <a:off x="1449685" y="5776515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756F5AB8-9436-4ACC-9DE2-DE3EA98CC9A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742305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223370 h 6858000"/>
              <a:gd name="connsiteX3" fmla="*/ 5621103 w 12192000"/>
              <a:gd name="connsiteY3" fmla="*/ 6858000 h 6858000"/>
              <a:gd name="connsiteX4" fmla="*/ 0 w 12192000"/>
              <a:gd name="connsiteY4" fmla="*/ 6858000 h 6858000"/>
              <a:gd name="connsiteX5" fmla="*/ 0 w 12192000"/>
              <a:gd name="connsiteY5" fmla="*/ 108148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0742305" y="0"/>
                </a:moveTo>
                <a:lnTo>
                  <a:pt x="12192000" y="0"/>
                </a:lnTo>
                <a:lnTo>
                  <a:pt x="12192000" y="6223370"/>
                </a:lnTo>
                <a:lnTo>
                  <a:pt x="5621103" y="6858000"/>
                </a:lnTo>
                <a:lnTo>
                  <a:pt x="0" y="6858000"/>
                </a:lnTo>
                <a:lnTo>
                  <a:pt x="0" y="1081483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8" name="Freihandform: Form 27">
            <a:extLst>
              <a:ext uri="{FF2B5EF4-FFF2-40B4-BE49-F238E27FC236}">
                <a16:creationId xmlns:a16="http://schemas.microsoft.com/office/drawing/2014/main" id="{1ED9DF6D-8878-44AC-A12C-893F4576467C}"/>
              </a:ext>
            </a:extLst>
          </p:cNvPr>
          <p:cNvSpPr/>
          <p:nvPr userDrawn="1"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CD9C935-DFD8-4C1F-A4AF-B70F53B25DFD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15" name="Freeform 40">
              <a:extLst>
                <a:ext uri="{FF2B5EF4-FFF2-40B4-BE49-F238E27FC236}">
                  <a16:creationId xmlns:a16="http://schemas.microsoft.com/office/drawing/2014/main" id="{589340FF-7D32-47A8-8449-1C2A489DA5B3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tx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6" name="Freeform 41">
              <a:extLst>
                <a:ext uri="{FF2B5EF4-FFF2-40B4-BE49-F238E27FC236}">
                  <a16:creationId xmlns:a16="http://schemas.microsoft.com/office/drawing/2014/main" id="{4F07A579-28CA-49F5-9EEC-EB5412BEBA56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E23AD241-DF8E-4051-8B5A-E0AA069385E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2331641"/>
            <a:ext cx="5127438" cy="4526359"/>
          </a:xfrm>
          <a:custGeom>
            <a:avLst/>
            <a:gdLst>
              <a:gd name="connsiteX0" fmla="*/ 5100034 w 5127438"/>
              <a:gd name="connsiteY0" fmla="*/ 0 h 4526359"/>
              <a:gd name="connsiteX1" fmla="*/ 5127438 w 5127438"/>
              <a:gd name="connsiteY1" fmla="*/ 0 h 4526359"/>
              <a:gd name="connsiteX2" fmla="*/ 5127438 w 5127438"/>
              <a:gd name="connsiteY2" fmla="*/ 4211781 h 4526359"/>
              <a:gd name="connsiteX3" fmla="*/ 2002757 w 5127438"/>
              <a:gd name="connsiteY3" fmla="*/ 4526359 h 4526359"/>
              <a:gd name="connsiteX4" fmla="*/ 0 w 5127438"/>
              <a:gd name="connsiteY4" fmla="*/ 4526359 h 4526359"/>
              <a:gd name="connsiteX5" fmla="*/ 0 w 5127438"/>
              <a:gd name="connsiteY5" fmla="*/ 513447 h 4526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27438" h="4526359">
                <a:moveTo>
                  <a:pt x="5100034" y="0"/>
                </a:moveTo>
                <a:lnTo>
                  <a:pt x="5127438" y="0"/>
                </a:lnTo>
                <a:lnTo>
                  <a:pt x="5127438" y="4211781"/>
                </a:lnTo>
                <a:lnTo>
                  <a:pt x="2002757" y="4526359"/>
                </a:lnTo>
                <a:lnTo>
                  <a:pt x="0" y="4526359"/>
                </a:lnTo>
                <a:lnTo>
                  <a:pt x="0" y="513447"/>
                </a:lnTo>
                <a:close/>
              </a:path>
            </a:pathLst>
          </a:custGeom>
          <a:solidFill>
            <a:schemeClr val="tx2">
              <a:alpha val="74000"/>
            </a:schemeClr>
          </a:solidFill>
        </p:spPr>
        <p:txBody>
          <a:bodyPr wrap="square" lIns="1008000" tIns="864000" rIns="1008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FontTx/>
              <a:buBlip>
                <a:blip r:embed="rId7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4D13CA-3680-4529-B6B5-9F0A749058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A88AD8-3CFE-481A-9582-168235F0B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42589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 // 2 Texte auf Bil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F0BFEF38-786D-4152-A749-2AFFD780C12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297398"/>
            <a:ext cx="7788277" cy="6216757"/>
          </a:xfrm>
          <a:custGeom>
            <a:avLst/>
            <a:gdLst>
              <a:gd name="connsiteX0" fmla="*/ 7788277 w 7788277"/>
              <a:gd name="connsiteY0" fmla="*/ 0 h 6216757"/>
              <a:gd name="connsiteX1" fmla="*/ 7788277 w 7788277"/>
              <a:gd name="connsiteY1" fmla="*/ 856056 h 6216757"/>
              <a:gd name="connsiteX2" fmla="*/ 7788277 w 7788277"/>
              <a:gd name="connsiteY2" fmla="*/ 979568 h 6216757"/>
              <a:gd name="connsiteX3" fmla="*/ 4116386 w 7788277"/>
              <a:gd name="connsiteY3" fmla="*/ 1349236 h 6216757"/>
              <a:gd name="connsiteX4" fmla="*/ 4116386 w 7788277"/>
              <a:gd name="connsiteY4" fmla="*/ 1364277 h 6216757"/>
              <a:gd name="connsiteX5" fmla="*/ 4116386 w 7788277"/>
              <a:gd name="connsiteY5" fmla="*/ 3014189 h 6216757"/>
              <a:gd name="connsiteX6" fmla="*/ 4116386 w 7788277"/>
              <a:gd name="connsiteY6" fmla="*/ 5819655 h 6216757"/>
              <a:gd name="connsiteX7" fmla="*/ 0 w 7788277"/>
              <a:gd name="connsiteY7" fmla="*/ 6216757 h 6216757"/>
              <a:gd name="connsiteX8" fmla="*/ 0 w 7788277"/>
              <a:gd name="connsiteY8" fmla="*/ 5360701 h 6216757"/>
              <a:gd name="connsiteX9" fmla="*/ 0 w 7788277"/>
              <a:gd name="connsiteY9" fmla="*/ 1640142 h 6216757"/>
              <a:gd name="connsiteX10" fmla="*/ 0 w 7788277"/>
              <a:gd name="connsiteY10" fmla="*/ 784086 h 6216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88277" h="6216757">
                <a:moveTo>
                  <a:pt x="7788277" y="0"/>
                </a:moveTo>
                <a:lnTo>
                  <a:pt x="7788277" y="856056"/>
                </a:lnTo>
                <a:lnTo>
                  <a:pt x="7788277" y="979568"/>
                </a:lnTo>
                <a:lnTo>
                  <a:pt x="4116386" y="1349236"/>
                </a:lnTo>
                <a:lnTo>
                  <a:pt x="4116386" y="1364277"/>
                </a:lnTo>
                <a:lnTo>
                  <a:pt x="4116386" y="3014189"/>
                </a:lnTo>
                <a:lnTo>
                  <a:pt x="4116386" y="5819655"/>
                </a:lnTo>
                <a:lnTo>
                  <a:pt x="0" y="6216757"/>
                </a:lnTo>
                <a:lnTo>
                  <a:pt x="0" y="5360701"/>
                </a:lnTo>
                <a:lnTo>
                  <a:pt x="0" y="1640142"/>
                </a:lnTo>
                <a:lnTo>
                  <a:pt x="0" y="78408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148BEEFE-4F0A-4044-96B5-A6ADD49FFDC3}"/>
              </a:ext>
            </a:extLst>
          </p:cNvPr>
          <p:cNvSpPr/>
          <p:nvPr userDrawn="1"/>
        </p:nvSpPr>
        <p:spPr>
          <a:xfrm rot="10800000">
            <a:off x="4116386" y="878210"/>
            <a:ext cx="7632701" cy="5912718"/>
          </a:xfrm>
          <a:custGeom>
            <a:avLst/>
            <a:gdLst>
              <a:gd name="connsiteX0" fmla="*/ 0 w 7632701"/>
              <a:gd name="connsiteY0" fmla="*/ 5912718 h 5912718"/>
              <a:gd name="connsiteX1" fmla="*/ 0 w 7632701"/>
              <a:gd name="connsiteY1" fmla="*/ 5897677 h 5912718"/>
              <a:gd name="connsiteX2" fmla="*/ 0 w 7632701"/>
              <a:gd name="connsiteY2" fmla="*/ 5837327 h 5912718"/>
              <a:gd name="connsiteX3" fmla="*/ 0 w 7632701"/>
              <a:gd name="connsiteY3" fmla="*/ 5774928 h 5912718"/>
              <a:gd name="connsiteX4" fmla="*/ 0 w 7632701"/>
              <a:gd name="connsiteY4" fmla="*/ 5759887 h 5912718"/>
              <a:gd name="connsiteX5" fmla="*/ 0 w 7632701"/>
              <a:gd name="connsiteY5" fmla="*/ 5699537 h 5912718"/>
              <a:gd name="connsiteX6" fmla="*/ 0 w 7632701"/>
              <a:gd name="connsiteY6" fmla="*/ 5697598 h 5912718"/>
              <a:gd name="connsiteX7" fmla="*/ 0 w 7632701"/>
              <a:gd name="connsiteY7" fmla="*/ 5589538 h 5912718"/>
              <a:gd name="connsiteX8" fmla="*/ 0 w 7632701"/>
              <a:gd name="connsiteY8" fmla="*/ 5559808 h 5912718"/>
              <a:gd name="connsiteX9" fmla="*/ 0 w 7632701"/>
              <a:gd name="connsiteY9" fmla="*/ 5530900 h 5912718"/>
              <a:gd name="connsiteX10" fmla="*/ 0 w 7632701"/>
              <a:gd name="connsiteY10" fmla="*/ 5451748 h 5912718"/>
              <a:gd name="connsiteX11" fmla="*/ 0 w 7632701"/>
              <a:gd name="connsiteY11" fmla="*/ 5422839 h 5912718"/>
              <a:gd name="connsiteX12" fmla="*/ 0 w 7632701"/>
              <a:gd name="connsiteY12" fmla="*/ 5393110 h 5912718"/>
              <a:gd name="connsiteX13" fmla="*/ 0 w 7632701"/>
              <a:gd name="connsiteY13" fmla="*/ 5285049 h 5912718"/>
              <a:gd name="connsiteX14" fmla="*/ 0 w 7632701"/>
              <a:gd name="connsiteY14" fmla="*/ 5275330 h 5912718"/>
              <a:gd name="connsiteX15" fmla="*/ 0 w 7632701"/>
              <a:gd name="connsiteY15" fmla="*/ 5137540 h 5912718"/>
              <a:gd name="connsiteX16" fmla="*/ 0 w 7632701"/>
              <a:gd name="connsiteY16" fmla="*/ 4247765 h 5912718"/>
              <a:gd name="connsiteX17" fmla="*/ 0 w 7632701"/>
              <a:gd name="connsiteY17" fmla="*/ 4109975 h 5912718"/>
              <a:gd name="connsiteX18" fmla="*/ 0 w 7632701"/>
              <a:gd name="connsiteY18" fmla="*/ 3625418 h 5912718"/>
              <a:gd name="connsiteX19" fmla="*/ 0 w 7632701"/>
              <a:gd name="connsiteY19" fmla="*/ 3487628 h 5912718"/>
              <a:gd name="connsiteX20" fmla="*/ 0 w 7632701"/>
              <a:gd name="connsiteY20" fmla="*/ 3379668 h 5912718"/>
              <a:gd name="connsiteX21" fmla="*/ 0 w 7632701"/>
              <a:gd name="connsiteY21" fmla="*/ 3241878 h 5912718"/>
              <a:gd name="connsiteX22" fmla="*/ 0 w 7632701"/>
              <a:gd name="connsiteY22" fmla="*/ 2970612 h 5912718"/>
              <a:gd name="connsiteX23" fmla="*/ 0 w 7632701"/>
              <a:gd name="connsiteY23" fmla="*/ 2832822 h 5912718"/>
              <a:gd name="connsiteX24" fmla="*/ 0 w 7632701"/>
              <a:gd name="connsiteY24" fmla="*/ 2664186 h 5912718"/>
              <a:gd name="connsiteX25" fmla="*/ 0 w 7632701"/>
              <a:gd name="connsiteY25" fmla="*/ 2556126 h 5912718"/>
              <a:gd name="connsiteX26" fmla="*/ 0 w 7632701"/>
              <a:gd name="connsiteY26" fmla="*/ 2526396 h 5912718"/>
              <a:gd name="connsiteX27" fmla="*/ 0 w 7632701"/>
              <a:gd name="connsiteY27" fmla="*/ 2418336 h 5912718"/>
              <a:gd name="connsiteX28" fmla="*/ 0 w 7632701"/>
              <a:gd name="connsiteY28" fmla="*/ 1729756 h 5912718"/>
              <a:gd name="connsiteX29" fmla="*/ 0 w 7632701"/>
              <a:gd name="connsiteY29" fmla="*/ 1591966 h 5912718"/>
              <a:gd name="connsiteX30" fmla="*/ 0 w 7632701"/>
              <a:gd name="connsiteY30" fmla="*/ 1320700 h 5912718"/>
              <a:gd name="connsiteX31" fmla="*/ 0 w 7632701"/>
              <a:gd name="connsiteY31" fmla="*/ 1182910 h 5912718"/>
              <a:gd name="connsiteX32" fmla="*/ 0 w 7632701"/>
              <a:gd name="connsiteY32" fmla="*/ 1014273 h 5912718"/>
              <a:gd name="connsiteX33" fmla="*/ 0 w 7632701"/>
              <a:gd name="connsiteY33" fmla="*/ 906214 h 5912718"/>
              <a:gd name="connsiteX34" fmla="*/ 0 w 7632701"/>
              <a:gd name="connsiteY34" fmla="*/ 876483 h 5912718"/>
              <a:gd name="connsiteX35" fmla="*/ 0 w 7632701"/>
              <a:gd name="connsiteY35" fmla="*/ 768424 h 5912718"/>
              <a:gd name="connsiteX36" fmla="*/ 7632701 w 7632701"/>
              <a:gd name="connsiteY36" fmla="*/ 0 h 5912718"/>
              <a:gd name="connsiteX37" fmla="*/ 7632701 w 7632701"/>
              <a:gd name="connsiteY37" fmla="*/ 137790 h 5912718"/>
              <a:gd name="connsiteX38" fmla="*/ 7632701 w 7632701"/>
              <a:gd name="connsiteY38" fmla="*/ 3341551 h 5912718"/>
              <a:gd name="connsiteX39" fmla="*/ 7632701 w 7632701"/>
              <a:gd name="connsiteY39" fmla="*/ 3479341 h 5912718"/>
              <a:gd name="connsiteX40" fmla="*/ 7632701 w 7632701"/>
              <a:gd name="connsiteY40" fmla="*/ 4991463 h 5912718"/>
              <a:gd name="connsiteX41" fmla="*/ 7632701 w 7632701"/>
              <a:gd name="connsiteY41" fmla="*/ 5006504 h 5912718"/>
              <a:gd name="connsiteX42" fmla="*/ 7632701 w 7632701"/>
              <a:gd name="connsiteY42" fmla="*/ 5129253 h 5912718"/>
              <a:gd name="connsiteX43" fmla="*/ 7632701 w 7632701"/>
              <a:gd name="connsiteY43" fmla="*/ 5144294 h 5912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7632701" h="5912718">
                <a:moveTo>
                  <a:pt x="0" y="5912718"/>
                </a:moveTo>
                <a:lnTo>
                  <a:pt x="0" y="5897677"/>
                </a:lnTo>
                <a:lnTo>
                  <a:pt x="0" y="5837327"/>
                </a:lnTo>
                <a:lnTo>
                  <a:pt x="0" y="5774928"/>
                </a:lnTo>
                <a:lnTo>
                  <a:pt x="0" y="5759887"/>
                </a:lnTo>
                <a:lnTo>
                  <a:pt x="0" y="5699537"/>
                </a:lnTo>
                <a:lnTo>
                  <a:pt x="0" y="5697598"/>
                </a:lnTo>
                <a:lnTo>
                  <a:pt x="0" y="5589538"/>
                </a:lnTo>
                <a:lnTo>
                  <a:pt x="0" y="5559808"/>
                </a:lnTo>
                <a:lnTo>
                  <a:pt x="0" y="5530900"/>
                </a:lnTo>
                <a:lnTo>
                  <a:pt x="0" y="5451748"/>
                </a:lnTo>
                <a:lnTo>
                  <a:pt x="0" y="5422839"/>
                </a:lnTo>
                <a:lnTo>
                  <a:pt x="0" y="5393110"/>
                </a:lnTo>
                <a:lnTo>
                  <a:pt x="0" y="5285049"/>
                </a:lnTo>
                <a:lnTo>
                  <a:pt x="0" y="5275330"/>
                </a:lnTo>
                <a:lnTo>
                  <a:pt x="0" y="5137540"/>
                </a:lnTo>
                <a:lnTo>
                  <a:pt x="0" y="4247765"/>
                </a:lnTo>
                <a:lnTo>
                  <a:pt x="0" y="4109975"/>
                </a:lnTo>
                <a:lnTo>
                  <a:pt x="0" y="3625418"/>
                </a:lnTo>
                <a:lnTo>
                  <a:pt x="0" y="3487628"/>
                </a:lnTo>
                <a:lnTo>
                  <a:pt x="0" y="3379668"/>
                </a:lnTo>
                <a:lnTo>
                  <a:pt x="0" y="3241878"/>
                </a:lnTo>
                <a:lnTo>
                  <a:pt x="0" y="2970612"/>
                </a:lnTo>
                <a:lnTo>
                  <a:pt x="0" y="2832822"/>
                </a:lnTo>
                <a:lnTo>
                  <a:pt x="0" y="2664186"/>
                </a:lnTo>
                <a:lnTo>
                  <a:pt x="0" y="2556126"/>
                </a:lnTo>
                <a:lnTo>
                  <a:pt x="0" y="2526396"/>
                </a:lnTo>
                <a:lnTo>
                  <a:pt x="0" y="2418336"/>
                </a:lnTo>
                <a:lnTo>
                  <a:pt x="0" y="1729756"/>
                </a:lnTo>
                <a:lnTo>
                  <a:pt x="0" y="1591966"/>
                </a:lnTo>
                <a:lnTo>
                  <a:pt x="0" y="1320700"/>
                </a:lnTo>
                <a:lnTo>
                  <a:pt x="0" y="1182910"/>
                </a:lnTo>
                <a:lnTo>
                  <a:pt x="0" y="1014273"/>
                </a:lnTo>
                <a:lnTo>
                  <a:pt x="0" y="906214"/>
                </a:lnTo>
                <a:lnTo>
                  <a:pt x="0" y="876483"/>
                </a:lnTo>
                <a:lnTo>
                  <a:pt x="0" y="768424"/>
                </a:lnTo>
                <a:lnTo>
                  <a:pt x="7632701" y="0"/>
                </a:lnTo>
                <a:lnTo>
                  <a:pt x="7632701" y="137790"/>
                </a:lnTo>
                <a:lnTo>
                  <a:pt x="7632701" y="3341551"/>
                </a:lnTo>
                <a:lnTo>
                  <a:pt x="7632701" y="3479341"/>
                </a:lnTo>
                <a:lnTo>
                  <a:pt x="7632701" y="4991463"/>
                </a:lnTo>
                <a:lnTo>
                  <a:pt x="7632701" y="5006504"/>
                </a:lnTo>
                <a:lnTo>
                  <a:pt x="7632701" y="5129253"/>
                </a:lnTo>
                <a:lnTo>
                  <a:pt x="7632701" y="5144294"/>
                </a:lnTo>
                <a:close/>
              </a:path>
            </a:pathLst>
          </a:custGeom>
          <a:solidFill>
            <a:schemeClr val="accent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8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de-DE" sz="1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8" name="Freihandform: Form 27">
            <a:extLst>
              <a:ext uri="{FF2B5EF4-FFF2-40B4-BE49-F238E27FC236}">
                <a16:creationId xmlns:a16="http://schemas.microsoft.com/office/drawing/2014/main" id="{1ED9DF6D-8878-44AC-A12C-893F4576467C}"/>
              </a:ext>
            </a:extLst>
          </p:cNvPr>
          <p:cNvSpPr/>
          <p:nvPr userDrawn="1"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CD9C935-DFD8-4C1F-A4AF-B70F53B25DFD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15" name="Freeform 40">
              <a:extLst>
                <a:ext uri="{FF2B5EF4-FFF2-40B4-BE49-F238E27FC236}">
                  <a16:creationId xmlns:a16="http://schemas.microsoft.com/office/drawing/2014/main" id="{589340FF-7D32-47A8-8449-1C2A489DA5B3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tx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6" name="Freeform 41">
              <a:extLst>
                <a:ext uri="{FF2B5EF4-FFF2-40B4-BE49-F238E27FC236}">
                  <a16:creationId xmlns:a16="http://schemas.microsoft.com/office/drawing/2014/main" id="{4F07A579-28CA-49F5-9EEC-EB5412BEBA56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4D13CA-3680-4529-B6B5-9F0A749058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A88AD8-3CFE-481A-9582-168235F0B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</a:rPr>
              <a:t>Abteilung | Verfasser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2" name="Freihandform: Form 22">
            <a:extLst>
              <a:ext uri="{FF2B5EF4-FFF2-40B4-BE49-F238E27FC236}">
                <a16:creationId xmlns:a16="http://schemas.microsoft.com/office/drawing/2014/main" id="{A0D903E6-C44E-4A70-A6AE-FB7D4F2C04E9}"/>
              </a:ext>
            </a:extLst>
          </p:cNvPr>
          <p:cNvSpPr/>
          <p:nvPr userDrawn="1"/>
        </p:nvSpPr>
        <p:spPr>
          <a:xfrm>
            <a:off x="5613395" y="6223371"/>
            <a:ext cx="6578604" cy="634629"/>
          </a:xfrm>
          <a:custGeom>
            <a:avLst/>
            <a:gdLst>
              <a:gd name="connsiteX0" fmla="*/ 6578604 w 6578604"/>
              <a:gd name="connsiteY0" fmla="*/ 0 h 634629"/>
              <a:gd name="connsiteX1" fmla="*/ 6578604 w 6578604"/>
              <a:gd name="connsiteY1" fmla="*/ 581488 h 634629"/>
              <a:gd name="connsiteX2" fmla="*/ 6578604 w 6578604"/>
              <a:gd name="connsiteY2" fmla="*/ 634629 h 634629"/>
              <a:gd name="connsiteX3" fmla="*/ 0 w 6578604"/>
              <a:gd name="connsiteY3" fmla="*/ 634629 h 634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78604" h="634629">
                <a:moveTo>
                  <a:pt x="6578604" y="0"/>
                </a:moveTo>
                <a:lnTo>
                  <a:pt x="6578604" y="581488"/>
                </a:lnTo>
                <a:lnTo>
                  <a:pt x="6578604" y="634629"/>
                </a:lnTo>
                <a:lnTo>
                  <a:pt x="0" y="634629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30" name="Text Placeholder 61">
            <a:extLst>
              <a:ext uri="{FF2B5EF4-FFF2-40B4-BE49-F238E27FC236}">
                <a16:creationId xmlns:a16="http://schemas.microsoft.com/office/drawing/2014/main" id="{2D02F780-5912-428A-9BD7-0A3D8102FA5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78999" y="589506"/>
            <a:ext cx="1216800" cy="1216800"/>
          </a:xfrm>
          <a:prstGeom prst="ellipse">
            <a:avLst/>
          </a:prstGeom>
          <a:solidFill>
            <a:srgbClr val="FFC000"/>
          </a:solidFill>
        </p:spPr>
        <p:txBody>
          <a:bodyPr lIns="36000" tIns="36000" rIns="36000" bIns="36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31" name="Text Placeholder 34">
            <a:extLst>
              <a:ext uri="{FF2B5EF4-FFF2-40B4-BE49-F238E27FC236}">
                <a16:creationId xmlns:a16="http://schemas.microsoft.com/office/drawing/2014/main" id="{F68C68D2-6AA1-4354-AC6D-4CF0689386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03725" y="1897316"/>
            <a:ext cx="3384550" cy="3806797"/>
          </a:xfrm>
        </p:spPr>
        <p:txBody>
          <a:bodyPr/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FontTx/>
              <a:buBlip>
                <a:blip r:embed="rId7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2" name="Text Placeholder 34">
            <a:extLst>
              <a:ext uri="{FF2B5EF4-FFF2-40B4-BE49-F238E27FC236}">
                <a16:creationId xmlns:a16="http://schemas.microsoft.com/office/drawing/2014/main" id="{B2627D31-BA2B-49B5-A7EB-39B12E23280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89468" y="1897316"/>
            <a:ext cx="3335770" cy="3806797"/>
          </a:xfrm>
        </p:spPr>
        <p:txBody>
          <a:bodyPr/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FontTx/>
              <a:buBlip>
                <a:blip r:embed="rId7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321321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87">
          <p15:clr>
            <a:srgbClr val="F26B43"/>
          </p15:clr>
        </p15:guide>
        <p15:guide id="2" pos="4906">
          <p15:clr>
            <a:srgbClr val="F26B43"/>
          </p15:clr>
        </p15:guide>
        <p15:guide id="3" pos="2774">
          <p15:clr>
            <a:srgbClr val="F26B43"/>
          </p15:clr>
        </p15:guide>
        <p15:guide id="4" orient="horz" pos="1185">
          <p15:clr>
            <a:srgbClr val="F26B43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WARZ // 2 Texte auf Bilplatzhalt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1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de-DE" sz="1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F0BFEF38-786D-4152-A749-2AFFD780C12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297398"/>
            <a:ext cx="7788277" cy="6216757"/>
          </a:xfrm>
          <a:custGeom>
            <a:avLst/>
            <a:gdLst>
              <a:gd name="connsiteX0" fmla="*/ 7788277 w 7788277"/>
              <a:gd name="connsiteY0" fmla="*/ 0 h 6216757"/>
              <a:gd name="connsiteX1" fmla="*/ 7788277 w 7788277"/>
              <a:gd name="connsiteY1" fmla="*/ 856056 h 6216757"/>
              <a:gd name="connsiteX2" fmla="*/ 7788277 w 7788277"/>
              <a:gd name="connsiteY2" fmla="*/ 979568 h 6216757"/>
              <a:gd name="connsiteX3" fmla="*/ 4116386 w 7788277"/>
              <a:gd name="connsiteY3" fmla="*/ 1349236 h 6216757"/>
              <a:gd name="connsiteX4" fmla="*/ 4116386 w 7788277"/>
              <a:gd name="connsiteY4" fmla="*/ 1364277 h 6216757"/>
              <a:gd name="connsiteX5" fmla="*/ 4116386 w 7788277"/>
              <a:gd name="connsiteY5" fmla="*/ 3014189 h 6216757"/>
              <a:gd name="connsiteX6" fmla="*/ 4116386 w 7788277"/>
              <a:gd name="connsiteY6" fmla="*/ 5819655 h 6216757"/>
              <a:gd name="connsiteX7" fmla="*/ 0 w 7788277"/>
              <a:gd name="connsiteY7" fmla="*/ 6216757 h 6216757"/>
              <a:gd name="connsiteX8" fmla="*/ 0 w 7788277"/>
              <a:gd name="connsiteY8" fmla="*/ 5360701 h 6216757"/>
              <a:gd name="connsiteX9" fmla="*/ 0 w 7788277"/>
              <a:gd name="connsiteY9" fmla="*/ 1640142 h 6216757"/>
              <a:gd name="connsiteX10" fmla="*/ 0 w 7788277"/>
              <a:gd name="connsiteY10" fmla="*/ 784086 h 6216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88277" h="6216757">
                <a:moveTo>
                  <a:pt x="7788277" y="0"/>
                </a:moveTo>
                <a:lnTo>
                  <a:pt x="7788277" y="856056"/>
                </a:lnTo>
                <a:lnTo>
                  <a:pt x="7788277" y="979568"/>
                </a:lnTo>
                <a:lnTo>
                  <a:pt x="4116386" y="1349236"/>
                </a:lnTo>
                <a:lnTo>
                  <a:pt x="4116386" y="1364277"/>
                </a:lnTo>
                <a:lnTo>
                  <a:pt x="4116386" y="3014189"/>
                </a:lnTo>
                <a:lnTo>
                  <a:pt x="4116386" y="5819655"/>
                </a:lnTo>
                <a:lnTo>
                  <a:pt x="0" y="6216757"/>
                </a:lnTo>
                <a:lnTo>
                  <a:pt x="0" y="5360701"/>
                </a:lnTo>
                <a:lnTo>
                  <a:pt x="0" y="1640142"/>
                </a:lnTo>
                <a:lnTo>
                  <a:pt x="0" y="78408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8" name="Freihandform: Form 27">
            <a:extLst>
              <a:ext uri="{FF2B5EF4-FFF2-40B4-BE49-F238E27FC236}">
                <a16:creationId xmlns:a16="http://schemas.microsoft.com/office/drawing/2014/main" id="{1ED9DF6D-8878-44AC-A12C-893F4576467C}"/>
              </a:ext>
            </a:extLst>
          </p:cNvPr>
          <p:cNvSpPr/>
          <p:nvPr userDrawn="1"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accent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6" name="Freeform 41">
            <a:extLst>
              <a:ext uri="{FF2B5EF4-FFF2-40B4-BE49-F238E27FC236}">
                <a16:creationId xmlns:a16="http://schemas.microsoft.com/office/drawing/2014/main" id="{4F07A579-28CA-49F5-9EEC-EB5412BEBA56}"/>
              </a:ext>
            </a:extLst>
          </p:cNvPr>
          <p:cNvSpPr/>
          <p:nvPr/>
        </p:nvSpPr>
        <p:spPr>
          <a:xfrm>
            <a:off x="102758" y="518040"/>
            <a:ext cx="446364" cy="370116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4D13CA-3680-4529-B6B5-9F0A749058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A88AD8-3CFE-481A-9582-168235F0B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" name="Freihandform: Form 22">
            <a:extLst>
              <a:ext uri="{FF2B5EF4-FFF2-40B4-BE49-F238E27FC236}">
                <a16:creationId xmlns:a16="http://schemas.microsoft.com/office/drawing/2014/main" id="{A0D903E6-C44E-4A70-A6AE-FB7D4F2C04E9}"/>
              </a:ext>
            </a:extLst>
          </p:cNvPr>
          <p:cNvSpPr/>
          <p:nvPr userDrawn="1"/>
        </p:nvSpPr>
        <p:spPr>
          <a:xfrm>
            <a:off x="5613395" y="6223371"/>
            <a:ext cx="6578604" cy="634629"/>
          </a:xfrm>
          <a:custGeom>
            <a:avLst/>
            <a:gdLst>
              <a:gd name="connsiteX0" fmla="*/ 6578604 w 6578604"/>
              <a:gd name="connsiteY0" fmla="*/ 0 h 634629"/>
              <a:gd name="connsiteX1" fmla="*/ 6578604 w 6578604"/>
              <a:gd name="connsiteY1" fmla="*/ 581488 h 634629"/>
              <a:gd name="connsiteX2" fmla="*/ 6578604 w 6578604"/>
              <a:gd name="connsiteY2" fmla="*/ 634629 h 634629"/>
              <a:gd name="connsiteX3" fmla="*/ 0 w 6578604"/>
              <a:gd name="connsiteY3" fmla="*/ 634629 h 634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78604" h="634629">
                <a:moveTo>
                  <a:pt x="6578604" y="0"/>
                </a:moveTo>
                <a:lnTo>
                  <a:pt x="6578604" y="581488"/>
                </a:lnTo>
                <a:lnTo>
                  <a:pt x="6578604" y="634629"/>
                </a:lnTo>
                <a:lnTo>
                  <a:pt x="0" y="634629"/>
                </a:lnTo>
                <a:close/>
              </a:path>
            </a:pathLst>
          </a:custGeom>
          <a:solidFill>
            <a:schemeClr val="accent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25" name="Freeform 45">
            <a:extLst>
              <a:ext uri="{FF2B5EF4-FFF2-40B4-BE49-F238E27FC236}">
                <a16:creationId xmlns:a16="http://schemas.microsoft.com/office/drawing/2014/main" id="{D689FEEF-524A-4000-8584-86BE1EBD1742}"/>
              </a:ext>
            </a:extLst>
          </p:cNvPr>
          <p:cNvSpPr/>
          <p:nvPr userDrawn="1"/>
        </p:nvSpPr>
        <p:spPr>
          <a:xfrm rot="10800000">
            <a:off x="4116386" y="878210"/>
            <a:ext cx="7632701" cy="5774928"/>
          </a:xfrm>
          <a:custGeom>
            <a:avLst/>
            <a:gdLst>
              <a:gd name="connsiteX0" fmla="*/ 0 w 7632701"/>
              <a:gd name="connsiteY0" fmla="*/ 5774928 h 5774928"/>
              <a:gd name="connsiteX1" fmla="*/ 0 w 7632701"/>
              <a:gd name="connsiteY1" fmla="*/ 5759887 h 5774928"/>
              <a:gd name="connsiteX2" fmla="*/ 0 w 7632701"/>
              <a:gd name="connsiteY2" fmla="*/ 5699537 h 5774928"/>
              <a:gd name="connsiteX3" fmla="*/ 0 w 7632701"/>
              <a:gd name="connsiteY3" fmla="*/ 5559808 h 5774928"/>
              <a:gd name="connsiteX4" fmla="*/ 0 w 7632701"/>
              <a:gd name="connsiteY4" fmla="*/ 5451748 h 5774928"/>
              <a:gd name="connsiteX5" fmla="*/ 0 w 7632701"/>
              <a:gd name="connsiteY5" fmla="*/ 5393110 h 5774928"/>
              <a:gd name="connsiteX6" fmla="*/ 0 w 7632701"/>
              <a:gd name="connsiteY6" fmla="*/ 5285049 h 5774928"/>
              <a:gd name="connsiteX7" fmla="*/ 0 w 7632701"/>
              <a:gd name="connsiteY7" fmla="*/ 5137540 h 5774928"/>
              <a:gd name="connsiteX8" fmla="*/ 0 w 7632701"/>
              <a:gd name="connsiteY8" fmla="*/ 4109975 h 5774928"/>
              <a:gd name="connsiteX9" fmla="*/ 0 w 7632701"/>
              <a:gd name="connsiteY9" fmla="*/ 3487628 h 5774928"/>
              <a:gd name="connsiteX10" fmla="*/ 0 w 7632701"/>
              <a:gd name="connsiteY10" fmla="*/ 3241878 h 5774928"/>
              <a:gd name="connsiteX11" fmla="*/ 0 w 7632701"/>
              <a:gd name="connsiteY11" fmla="*/ 2832822 h 5774928"/>
              <a:gd name="connsiteX12" fmla="*/ 0 w 7632701"/>
              <a:gd name="connsiteY12" fmla="*/ 2526396 h 5774928"/>
              <a:gd name="connsiteX13" fmla="*/ 0 w 7632701"/>
              <a:gd name="connsiteY13" fmla="*/ 2418336 h 5774928"/>
              <a:gd name="connsiteX14" fmla="*/ 0 w 7632701"/>
              <a:gd name="connsiteY14" fmla="*/ 1591966 h 5774928"/>
              <a:gd name="connsiteX15" fmla="*/ 0 w 7632701"/>
              <a:gd name="connsiteY15" fmla="*/ 1182910 h 5774928"/>
              <a:gd name="connsiteX16" fmla="*/ 0 w 7632701"/>
              <a:gd name="connsiteY16" fmla="*/ 876483 h 5774928"/>
              <a:gd name="connsiteX17" fmla="*/ 0 w 7632701"/>
              <a:gd name="connsiteY17" fmla="*/ 768424 h 5774928"/>
              <a:gd name="connsiteX18" fmla="*/ 7632701 w 7632701"/>
              <a:gd name="connsiteY18" fmla="*/ 0 h 5774928"/>
              <a:gd name="connsiteX19" fmla="*/ 7632701 w 7632701"/>
              <a:gd name="connsiteY19" fmla="*/ 3341551 h 5774928"/>
              <a:gd name="connsiteX20" fmla="*/ 7632701 w 7632701"/>
              <a:gd name="connsiteY20" fmla="*/ 4991463 h 5774928"/>
              <a:gd name="connsiteX21" fmla="*/ 7632701 w 7632701"/>
              <a:gd name="connsiteY21" fmla="*/ 5006504 h 5774928"/>
              <a:gd name="connsiteX22" fmla="*/ 0 w 7632701"/>
              <a:gd name="connsiteY22" fmla="*/ 5774928 h 5774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7632701" h="5774928">
                <a:moveTo>
                  <a:pt x="0" y="5774928"/>
                </a:moveTo>
                <a:lnTo>
                  <a:pt x="0" y="5759887"/>
                </a:lnTo>
                <a:lnTo>
                  <a:pt x="0" y="5699537"/>
                </a:lnTo>
                <a:lnTo>
                  <a:pt x="0" y="5559808"/>
                </a:lnTo>
                <a:lnTo>
                  <a:pt x="0" y="5451748"/>
                </a:lnTo>
                <a:lnTo>
                  <a:pt x="0" y="5393110"/>
                </a:lnTo>
                <a:lnTo>
                  <a:pt x="0" y="5285049"/>
                </a:lnTo>
                <a:lnTo>
                  <a:pt x="0" y="5137540"/>
                </a:lnTo>
                <a:lnTo>
                  <a:pt x="0" y="4109975"/>
                </a:lnTo>
                <a:lnTo>
                  <a:pt x="0" y="3487628"/>
                </a:lnTo>
                <a:lnTo>
                  <a:pt x="0" y="3241878"/>
                </a:lnTo>
                <a:lnTo>
                  <a:pt x="0" y="2832822"/>
                </a:lnTo>
                <a:lnTo>
                  <a:pt x="0" y="2526396"/>
                </a:lnTo>
                <a:lnTo>
                  <a:pt x="0" y="2418336"/>
                </a:lnTo>
                <a:lnTo>
                  <a:pt x="0" y="1591966"/>
                </a:lnTo>
                <a:lnTo>
                  <a:pt x="0" y="1182910"/>
                </a:lnTo>
                <a:lnTo>
                  <a:pt x="0" y="876483"/>
                </a:lnTo>
                <a:lnTo>
                  <a:pt x="0" y="768424"/>
                </a:lnTo>
                <a:lnTo>
                  <a:pt x="7632701" y="0"/>
                </a:lnTo>
                <a:lnTo>
                  <a:pt x="7632701" y="3341551"/>
                </a:lnTo>
                <a:lnTo>
                  <a:pt x="7632701" y="4991463"/>
                </a:lnTo>
                <a:lnTo>
                  <a:pt x="7632701" y="5006504"/>
                </a:lnTo>
                <a:lnTo>
                  <a:pt x="0" y="5774928"/>
                </a:lnTo>
                <a:close/>
              </a:path>
            </a:pathLst>
          </a:cu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30" name="Text Placeholder 61">
            <a:extLst>
              <a:ext uri="{FF2B5EF4-FFF2-40B4-BE49-F238E27FC236}">
                <a16:creationId xmlns:a16="http://schemas.microsoft.com/office/drawing/2014/main" id="{2D02F780-5912-428A-9BD7-0A3D8102FA5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78999" y="589506"/>
            <a:ext cx="1216800" cy="1216800"/>
          </a:xfrm>
          <a:prstGeom prst="ellipse">
            <a:avLst/>
          </a:prstGeom>
          <a:solidFill>
            <a:srgbClr val="FFC000"/>
          </a:solidFill>
        </p:spPr>
        <p:txBody>
          <a:bodyPr lIns="36000" tIns="36000" rIns="36000" bIns="36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31" name="Text Placeholder 34">
            <a:extLst>
              <a:ext uri="{FF2B5EF4-FFF2-40B4-BE49-F238E27FC236}">
                <a16:creationId xmlns:a16="http://schemas.microsoft.com/office/drawing/2014/main" id="{F68C68D2-6AA1-4354-AC6D-4CF0689386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3725" y="1897317"/>
            <a:ext cx="3384550" cy="385034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32" name="Text Placeholder 34">
            <a:extLst>
              <a:ext uri="{FF2B5EF4-FFF2-40B4-BE49-F238E27FC236}">
                <a16:creationId xmlns:a16="http://schemas.microsoft.com/office/drawing/2014/main" id="{B2627D31-BA2B-49B5-A7EB-39B12E2328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89468" y="1897317"/>
            <a:ext cx="3335770" cy="385034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87130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87">
          <p15:clr>
            <a:srgbClr val="F26B43"/>
          </p15:clr>
        </p15:guide>
        <p15:guide id="2" pos="4906">
          <p15:clr>
            <a:srgbClr val="F26B43"/>
          </p15:clr>
        </p15:guide>
        <p15:guide id="3" pos="2774">
          <p15:clr>
            <a:srgbClr val="F26B43"/>
          </p15:clr>
        </p15:guide>
        <p15:guide id="4" orient="horz" pos="1185">
          <p15:clr>
            <a:srgbClr val="F26B43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// Bild ist f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3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de-DE" sz="4000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CCECD96-025F-4254-A650-7789F60826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4898"/>
          </a:xfrm>
          <a:prstGeom prst="rect">
            <a:avLst/>
          </a:prstGeom>
        </p:spPr>
      </p:pic>
      <p:sp>
        <p:nvSpPr>
          <p:cNvPr id="12" name="Freihandform: Form 14">
            <a:extLst>
              <a:ext uri="{FF2B5EF4-FFF2-40B4-BE49-F238E27FC236}">
                <a16:creationId xmlns:a16="http://schemas.microsoft.com/office/drawing/2014/main" id="{43E90D63-03AB-4F95-A0CD-C046E265DBDA}"/>
              </a:ext>
            </a:extLst>
          </p:cNvPr>
          <p:cNvSpPr/>
          <p:nvPr userDrawn="1"/>
        </p:nvSpPr>
        <p:spPr>
          <a:xfrm>
            <a:off x="-1" y="3392488"/>
            <a:ext cx="12203429" cy="3465512"/>
          </a:xfrm>
          <a:custGeom>
            <a:avLst/>
            <a:gdLst>
              <a:gd name="connsiteX0" fmla="*/ 12203429 w 12203429"/>
              <a:gd name="connsiteY0" fmla="*/ 0 h 3465512"/>
              <a:gd name="connsiteX1" fmla="*/ 12203429 w 12203429"/>
              <a:gd name="connsiteY1" fmla="*/ 537210 h 3465512"/>
              <a:gd name="connsiteX2" fmla="*/ 12203429 w 12203429"/>
              <a:gd name="connsiteY2" fmla="*/ 3465512 h 3465512"/>
              <a:gd name="connsiteX3" fmla="*/ 0 w 12203429"/>
              <a:gd name="connsiteY3" fmla="*/ 3465512 h 3465512"/>
              <a:gd name="connsiteX4" fmla="*/ 0 w 12203429"/>
              <a:gd name="connsiteY4" fmla="*/ 2438057 h 3465512"/>
              <a:gd name="connsiteX5" fmla="*/ 0 w 12203429"/>
              <a:gd name="connsiteY5" fmla="*/ 1900847 h 3465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03429" h="3465512">
                <a:moveTo>
                  <a:pt x="12203429" y="0"/>
                </a:moveTo>
                <a:lnTo>
                  <a:pt x="12203429" y="537210"/>
                </a:lnTo>
                <a:lnTo>
                  <a:pt x="12203429" y="3465512"/>
                </a:lnTo>
                <a:lnTo>
                  <a:pt x="0" y="3465512"/>
                </a:lnTo>
                <a:lnTo>
                  <a:pt x="0" y="2438057"/>
                </a:lnTo>
                <a:lnTo>
                  <a:pt x="0" y="1900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rgbClr val="FFFFFF"/>
              </a:solidFill>
            </a:endParaRPr>
          </a:p>
        </p:txBody>
      </p:sp>
      <p:sp>
        <p:nvSpPr>
          <p:cNvPr id="13" name="Freeform 16">
            <a:extLst>
              <a:ext uri="{FF2B5EF4-FFF2-40B4-BE49-F238E27FC236}">
                <a16:creationId xmlns:a16="http://schemas.microsoft.com/office/drawing/2014/main" id="{23E87A98-CC42-4FAA-ACC3-90AA4ECAB8ED}"/>
              </a:ext>
            </a:extLst>
          </p:cNvPr>
          <p:cNvSpPr/>
          <p:nvPr userDrawn="1"/>
        </p:nvSpPr>
        <p:spPr>
          <a:xfrm>
            <a:off x="8766524" y="4206239"/>
            <a:ext cx="3194306" cy="2648659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rgbClr val="FFFFFF"/>
              </a:solidFill>
            </a:endParaRPr>
          </a:p>
        </p:txBody>
      </p:sp>
      <p:pic>
        <p:nvPicPr>
          <p:cNvPr id="14" name="Grafik 7">
            <a:extLst>
              <a:ext uri="{FF2B5EF4-FFF2-40B4-BE49-F238E27FC236}">
                <a16:creationId xmlns:a16="http://schemas.microsoft.com/office/drawing/2014/main" id="{01BA83C3-FD58-4EB6-988A-9DE1D8D9518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784" y="6092936"/>
            <a:ext cx="2433209" cy="407523"/>
          </a:xfrm>
          <a:prstGeom prst="rect">
            <a:avLst/>
          </a:prstGeom>
        </p:spPr>
      </p:pic>
      <p:sp>
        <p:nvSpPr>
          <p:cNvPr id="15" name="Rechteck 9">
            <a:extLst>
              <a:ext uri="{FF2B5EF4-FFF2-40B4-BE49-F238E27FC236}">
                <a16:creationId xmlns:a16="http://schemas.microsoft.com/office/drawing/2014/main" id="{4F314B62-78C1-467E-935B-9DC461C1F902}"/>
              </a:ext>
            </a:extLst>
          </p:cNvPr>
          <p:cNvSpPr/>
          <p:nvPr userDrawn="1"/>
        </p:nvSpPr>
        <p:spPr>
          <a:xfrm>
            <a:off x="7878751" y="5344922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defTabSz="914400">
              <a:defRPr/>
            </a:pPr>
            <a:endParaRPr lang="de-DE" sz="1600" kern="0" dirty="0">
              <a:solidFill>
                <a:srgbClr val="FFFFFF"/>
              </a:solidFill>
              <a:latin typeface="Arial Regular"/>
            </a:endParaRPr>
          </a:p>
          <a:p>
            <a:pPr defTabSz="914400">
              <a:defRPr/>
            </a:pPr>
            <a:r>
              <a:rPr lang="de-DE" sz="1600" kern="0" dirty="0">
                <a:solidFill>
                  <a:srgbClr val="FFFFFF"/>
                </a:solidFill>
                <a:latin typeface="Arial Regular"/>
              </a:rPr>
              <a:t>Tel.: 08561 300 68 - 0</a:t>
            </a:r>
            <a:br>
              <a:rPr lang="de-DE" sz="1600" kern="0" dirty="0">
                <a:solidFill>
                  <a:srgbClr val="FFFFFF"/>
                </a:solidFill>
                <a:latin typeface="Arial Regular"/>
              </a:rPr>
            </a:br>
            <a:r>
              <a:rPr lang="de-DE" sz="1600" kern="0" dirty="0">
                <a:solidFill>
                  <a:srgbClr val="FFFFFF"/>
                </a:solidFill>
                <a:latin typeface="Arial Regular"/>
              </a:rPr>
              <a:t>E-Mail: </a:t>
            </a:r>
            <a:r>
              <a:rPr lang="de-DE" sz="1600" kern="0" dirty="0" err="1">
                <a:solidFill>
                  <a:srgbClr val="FFFFFF"/>
                </a:solidFill>
                <a:latin typeface="Arial Regular"/>
              </a:rPr>
              <a:t>info@nextfarming.de</a:t>
            </a:r>
            <a:endParaRPr lang="de-DE" sz="1600" kern="0" dirty="0">
              <a:solidFill>
                <a:srgbClr val="FFFFFF"/>
              </a:solidFill>
              <a:latin typeface="Arial Regular"/>
            </a:endParaRPr>
          </a:p>
          <a:p>
            <a:pPr defTabSz="914400">
              <a:defRPr/>
            </a:pPr>
            <a:endParaRPr lang="de-DE" sz="1600" kern="0" dirty="0">
              <a:solidFill>
                <a:srgbClr val="FFFFFF"/>
              </a:solidFill>
              <a:latin typeface="Arial Regular"/>
            </a:endParaRPr>
          </a:p>
        </p:txBody>
      </p:sp>
      <p:sp>
        <p:nvSpPr>
          <p:cNvPr id="17" name="Rechteck 9">
            <a:extLst>
              <a:ext uri="{FF2B5EF4-FFF2-40B4-BE49-F238E27FC236}">
                <a16:creationId xmlns:a16="http://schemas.microsoft.com/office/drawing/2014/main" id="{24D6C36E-70EA-4A57-873C-7F5B15BB75FE}"/>
              </a:ext>
            </a:extLst>
          </p:cNvPr>
          <p:cNvSpPr/>
          <p:nvPr userDrawn="1"/>
        </p:nvSpPr>
        <p:spPr>
          <a:xfrm>
            <a:off x="7878751" y="4673494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defTabSz="914400">
              <a:defRPr/>
            </a:pPr>
            <a:r>
              <a:rPr lang="de-DE" sz="1600" kern="0" dirty="0">
                <a:solidFill>
                  <a:srgbClr val="FFFFFF"/>
                </a:solidFill>
                <a:latin typeface="Arial Regular"/>
              </a:rPr>
              <a:t>Rennbahnstraße 9</a:t>
            </a:r>
            <a:br>
              <a:rPr lang="de-DE" sz="1600" kern="0" dirty="0">
                <a:solidFill>
                  <a:srgbClr val="FFFFFF"/>
                </a:solidFill>
                <a:latin typeface="Arial Regular"/>
              </a:rPr>
            </a:br>
            <a:r>
              <a:rPr lang="de-DE" sz="1600" kern="0" dirty="0">
                <a:solidFill>
                  <a:srgbClr val="FFFFFF"/>
                </a:solidFill>
                <a:latin typeface="Arial Regular"/>
              </a:rPr>
              <a:t>84347 Pfarrkirchen</a:t>
            </a:r>
          </a:p>
        </p:txBody>
      </p:sp>
      <p:sp>
        <p:nvSpPr>
          <p:cNvPr id="18" name="Rechteck 9">
            <a:extLst>
              <a:ext uri="{FF2B5EF4-FFF2-40B4-BE49-F238E27FC236}">
                <a16:creationId xmlns:a16="http://schemas.microsoft.com/office/drawing/2014/main" id="{826C7656-9D82-4B14-992A-49BBA6F819EC}"/>
              </a:ext>
            </a:extLst>
          </p:cNvPr>
          <p:cNvSpPr/>
          <p:nvPr userDrawn="1"/>
        </p:nvSpPr>
        <p:spPr>
          <a:xfrm>
            <a:off x="7890780" y="5899102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defTabSz="914400">
              <a:defRPr/>
            </a:pPr>
            <a:endParaRPr lang="de-DE" sz="1600" kern="0" dirty="0">
              <a:solidFill>
                <a:srgbClr val="44A12C"/>
              </a:solidFill>
              <a:latin typeface="Arial Regular"/>
            </a:endParaRPr>
          </a:p>
          <a:p>
            <a:pPr defTabSz="914400">
              <a:defRPr/>
            </a:pPr>
            <a:r>
              <a:rPr lang="de-DE" sz="1600" kern="0" dirty="0" err="1">
                <a:solidFill>
                  <a:srgbClr val="44A12C"/>
                </a:solidFill>
                <a:latin typeface="Arial Regular"/>
              </a:rPr>
              <a:t>nextfarming.de</a:t>
            </a:r>
            <a:endParaRPr lang="de-DE" sz="1600" kern="0" dirty="0">
              <a:solidFill>
                <a:srgbClr val="44A12C"/>
              </a:solidFill>
              <a:latin typeface="Arial Regular"/>
            </a:endParaRPr>
          </a:p>
          <a:p>
            <a:pPr defTabSz="914400">
              <a:defRPr/>
            </a:pPr>
            <a:endParaRPr lang="de-DE" sz="1600" kern="0" dirty="0">
              <a:solidFill>
                <a:srgbClr val="44A12C"/>
              </a:solidFill>
              <a:latin typeface="Arial Regular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2187806"/>
            <a:ext cx="9224588" cy="1846659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40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br>
              <a:rPr lang="de-DE" dirty="0"/>
            </a:br>
            <a:r>
              <a:rPr lang="de-DE" dirty="0"/>
              <a:t>title style</a:t>
            </a:r>
          </a:p>
        </p:txBody>
      </p:sp>
    </p:spTree>
    <p:extLst>
      <p:ext uri="{BB962C8B-B14F-4D97-AF65-F5344CB8AC3E}">
        <p14:creationId xmlns:p14="http://schemas.microsoft.com/office/powerpoint/2010/main" val="24423303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2" pos="483">
          <p15:clr>
            <a:srgbClr val="A4A3A4"/>
          </p15:clr>
        </p15:guide>
        <p15:guide id="3" orient="horz" pos="754">
          <p15:clr>
            <a:srgbClr val="A4A3A4"/>
          </p15:clr>
        </p15:guide>
        <p15:guide id="4" orient="horz" pos="640">
          <p15:clr>
            <a:srgbClr val="A4A3A4"/>
          </p15:clr>
        </p15:guide>
        <p15:guide id="5" orient="horz" pos="210">
          <p15:clr>
            <a:srgbClr val="A4A3A4"/>
          </p15:clr>
        </p15:guide>
        <p15:guide id="6" orient="horz" pos="4065">
          <p15:clr>
            <a:srgbClr val="A4A3A4"/>
          </p15:clr>
        </p15:guide>
        <p15:guide id="7" pos="7197">
          <p15:clr>
            <a:srgbClr val="A4A3A4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// Bildplatzhalt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5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de-DE" sz="4000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09D9D87E-83CD-4F57-91C0-AB038C6D268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415088" cy="6858000"/>
          </a:xfrm>
          <a:custGeom>
            <a:avLst/>
            <a:gdLst>
              <a:gd name="connsiteX0" fmla="*/ 0 w 9415088"/>
              <a:gd name="connsiteY0" fmla="*/ 0 h 6858000"/>
              <a:gd name="connsiteX1" fmla="*/ 9415088 w 9415088"/>
              <a:gd name="connsiteY1" fmla="*/ 0 h 6858000"/>
              <a:gd name="connsiteX2" fmla="*/ 6217151 w 9415088"/>
              <a:gd name="connsiteY2" fmla="*/ 6858000 h 6858000"/>
              <a:gd name="connsiteX3" fmla="*/ 0 w 941508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15088" h="6858000">
                <a:moveTo>
                  <a:pt x="0" y="0"/>
                </a:moveTo>
                <a:lnTo>
                  <a:pt x="9415088" y="0"/>
                </a:lnTo>
                <a:lnTo>
                  <a:pt x="621715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20" name="Freeform 16">
            <a:extLst>
              <a:ext uri="{FF2B5EF4-FFF2-40B4-BE49-F238E27FC236}">
                <a16:creationId xmlns:a16="http://schemas.microsoft.com/office/drawing/2014/main" id="{39A11E70-DAD7-40D1-B416-A9A3AE091DAF}"/>
              </a:ext>
            </a:extLst>
          </p:cNvPr>
          <p:cNvSpPr/>
          <p:nvPr userDrawn="1"/>
        </p:nvSpPr>
        <p:spPr>
          <a:xfrm>
            <a:off x="8766524" y="4206239"/>
            <a:ext cx="3194306" cy="2648659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rgbClr val="FFFFFF"/>
              </a:solidFill>
            </a:endParaRPr>
          </a:p>
        </p:txBody>
      </p:sp>
      <p:sp>
        <p:nvSpPr>
          <p:cNvPr id="21" name="Rechteck 9">
            <a:extLst>
              <a:ext uri="{FF2B5EF4-FFF2-40B4-BE49-F238E27FC236}">
                <a16:creationId xmlns:a16="http://schemas.microsoft.com/office/drawing/2014/main" id="{B5143025-2493-4286-B28D-5D316F4CC15F}"/>
              </a:ext>
            </a:extLst>
          </p:cNvPr>
          <p:cNvSpPr/>
          <p:nvPr userDrawn="1"/>
        </p:nvSpPr>
        <p:spPr>
          <a:xfrm>
            <a:off x="7878751" y="5344922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defTabSz="914400">
              <a:defRPr/>
            </a:pPr>
            <a:endParaRPr lang="de-DE" sz="1600" kern="0" dirty="0">
              <a:solidFill>
                <a:srgbClr val="FFFFFF"/>
              </a:solidFill>
              <a:latin typeface="Arial Regular"/>
            </a:endParaRPr>
          </a:p>
          <a:p>
            <a:pPr defTabSz="914400">
              <a:defRPr/>
            </a:pPr>
            <a:r>
              <a:rPr lang="de-DE" sz="1600" kern="0" dirty="0">
                <a:solidFill>
                  <a:srgbClr val="FFFFFF"/>
                </a:solidFill>
                <a:latin typeface="Arial Regular"/>
              </a:rPr>
              <a:t>Tel.: 08561 300 68 - 0</a:t>
            </a:r>
            <a:br>
              <a:rPr lang="de-DE" sz="1600" kern="0" dirty="0">
                <a:solidFill>
                  <a:srgbClr val="FFFFFF"/>
                </a:solidFill>
                <a:latin typeface="Arial Regular"/>
              </a:rPr>
            </a:br>
            <a:r>
              <a:rPr lang="de-DE" sz="1600" kern="0" dirty="0">
                <a:solidFill>
                  <a:srgbClr val="FFFFFF"/>
                </a:solidFill>
                <a:latin typeface="Arial Regular"/>
              </a:rPr>
              <a:t>E-Mail: </a:t>
            </a:r>
            <a:r>
              <a:rPr lang="de-DE" sz="1600" kern="0" dirty="0" err="1">
                <a:solidFill>
                  <a:srgbClr val="FFFFFF"/>
                </a:solidFill>
                <a:latin typeface="Arial Regular"/>
              </a:rPr>
              <a:t>info@nextfarming.de</a:t>
            </a:r>
            <a:endParaRPr lang="de-DE" sz="1600" kern="0" dirty="0">
              <a:solidFill>
                <a:srgbClr val="FFFFFF"/>
              </a:solidFill>
              <a:latin typeface="Arial Regular"/>
            </a:endParaRPr>
          </a:p>
          <a:p>
            <a:pPr defTabSz="914400">
              <a:defRPr/>
            </a:pPr>
            <a:endParaRPr lang="de-DE" sz="1600" kern="0" dirty="0">
              <a:solidFill>
                <a:srgbClr val="FFFFFF"/>
              </a:solidFill>
              <a:latin typeface="Arial Regular"/>
            </a:endParaRPr>
          </a:p>
        </p:txBody>
      </p:sp>
      <p:sp>
        <p:nvSpPr>
          <p:cNvPr id="22" name="Rechteck 9">
            <a:extLst>
              <a:ext uri="{FF2B5EF4-FFF2-40B4-BE49-F238E27FC236}">
                <a16:creationId xmlns:a16="http://schemas.microsoft.com/office/drawing/2014/main" id="{73C0424B-5F9D-49C6-9DFD-78AE93DFFC19}"/>
              </a:ext>
            </a:extLst>
          </p:cNvPr>
          <p:cNvSpPr/>
          <p:nvPr userDrawn="1"/>
        </p:nvSpPr>
        <p:spPr>
          <a:xfrm>
            <a:off x="7878751" y="4673494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defTabSz="914400">
              <a:defRPr/>
            </a:pPr>
            <a:r>
              <a:rPr lang="de-DE" sz="1600" kern="0" dirty="0">
                <a:solidFill>
                  <a:srgbClr val="FFFFFF"/>
                </a:solidFill>
                <a:latin typeface="Arial Regular"/>
              </a:rPr>
              <a:t>Rennbahnstraße 9</a:t>
            </a:r>
            <a:br>
              <a:rPr lang="de-DE" sz="1600" kern="0" dirty="0">
                <a:solidFill>
                  <a:srgbClr val="FFFFFF"/>
                </a:solidFill>
                <a:latin typeface="Arial Regular"/>
              </a:rPr>
            </a:br>
            <a:r>
              <a:rPr lang="de-DE" sz="1600" kern="0" dirty="0">
                <a:solidFill>
                  <a:srgbClr val="FFFFFF"/>
                </a:solidFill>
                <a:latin typeface="Arial Regular"/>
              </a:rPr>
              <a:t>84347 Pfarrkirchen</a:t>
            </a:r>
          </a:p>
        </p:txBody>
      </p:sp>
      <p:sp>
        <p:nvSpPr>
          <p:cNvPr id="23" name="Rechteck 9">
            <a:extLst>
              <a:ext uri="{FF2B5EF4-FFF2-40B4-BE49-F238E27FC236}">
                <a16:creationId xmlns:a16="http://schemas.microsoft.com/office/drawing/2014/main" id="{6F212A99-82CE-43A9-BBB0-69DA270EB569}"/>
              </a:ext>
            </a:extLst>
          </p:cNvPr>
          <p:cNvSpPr/>
          <p:nvPr userDrawn="1"/>
        </p:nvSpPr>
        <p:spPr>
          <a:xfrm>
            <a:off x="7890780" y="5899102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defTabSz="914400">
              <a:defRPr/>
            </a:pPr>
            <a:endParaRPr lang="de-DE" sz="1600" kern="0" dirty="0">
              <a:solidFill>
                <a:srgbClr val="44A12C"/>
              </a:solidFill>
              <a:latin typeface="Arial Regular"/>
            </a:endParaRPr>
          </a:p>
          <a:p>
            <a:pPr defTabSz="914400">
              <a:defRPr/>
            </a:pPr>
            <a:r>
              <a:rPr lang="de-DE" sz="1600" kern="0" dirty="0" err="1">
                <a:solidFill>
                  <a:srgbClr val="44A12C"/>
                </a:solidFill>
                <a:latin typeface="Arial Regular"/>
              </a:rPr>
              <a:t>nextfarming.de</a:t>
            </a:r>
            <a:endParaRPr lang="de-DE" sz="1600" kern="0" dirty="0">
              <a:solidFill>
                <a:srgbClr val="44A12C"/>
              </a:solidFill>
              <a:latin typeface="Arial Regular"/>
            </a:endParaRPr>
          </a:p>
          <a:p>
            <a:pPr defTabSz="914400">
              <a:defRPr/>
            </a:pPr>
            <a:endParaRPr lang="de-DE" sz="1600" kern="0" dirty="0">
              <a:solidFill>
                <a:srgbClr val="44A12C"/>
              </a:solidFill>
              <a:latin typeface="Arial Regular"/>
            </a:endParaRPr>
          </a:p>
        </p:txBody>
      </p:sp>
      <p:pic>
        <p:nvPicPr>
          <p:cNvPr id="24" name="Grafik 7">
            <a:extLst>
              <a:ext uri="{FF2B5EF4-FFF2-40B4-BE49-F238E27FC236}">
                <a16:creationId xmlns:a16="http://schemas.microsoft.com/office/drawing/2014/main" id="{9E1E5A2C-E031-4C09-A410-64D0BD36410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7663" y="4014254"/>
            <a:ext cx="3349625" cy="561008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3920499"/>
            <a:ext cx="5814432" cy="1846659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4000" b="1" kern="600" spc="40" baseline="0">
                <a:solidFill>
                  <a:schemeClr val="tx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br>
              <a:rPr lang="de-DE" dirty="0"/>
            </a:br>
            <a:r>
              <a:rPr lang="de-DE" dirty="0"/>
              <a:t>title style</a:t>
            </a:r>
          </a:p>
        </p:txBody>
      </p:sp>
    </p:spTree>
    <p:extLst>
      <p:ext uri="{BB962C8B-B14F-4D97-AF65-F5344CB8AC3E}">
        <p14:creationId xmlns:p14="http://schemas.microsoft.com/office/powerpoint/2010/main" val="16880767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2" pos="483">
          <p15:clr>
            <a:srgbClr val="A4A3A4"/>
          </p15:clr>
        </p15:guide>
        <p15:guide id="3" orient="horz" pos="754">
          <p15:clr>
            <a:srgbClr val="A4A3A4"/>
          </p15:clr>
        </p15:guide>
        <p15:guide id="4" orient="horz" pos="640">
          <p15:clr>
            <a:srgbClr val="A4A3A4"/>
          </p15:clr>
        </p15:guide>
        <p15:guide id="5" orient="horz" pos="210">
          <p15:clr>
            <a:srgbClr val="A4A3A4"/>
          </p15:clr>
        </p15:guide>
        <p15:guide id="6" orient="horz" pos="4065">
          <p15:clr>
            <a:srgbClr val="A4A3A4"/>
          </p15:clr>
        </p15:guide>
        <p15:guide id="7" pos="7197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Nur TItel  – Schrä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9092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8B7D36-4FC7-458A-91CB-590EC03755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13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 userDrawn="1"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9" name="Freeform 18">
            <a:extLst>
              <a:ext uri="{FF2B5EF4-FFF2-40B4-BE49-F238E27FC236}">
                <a16:creationId xmlns:a16="http://schemas.microsoft.com/office/drawing/2014/main" id="{F9BEDD05-536F-F74A-9F35-0ED4CCA99545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6798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Text – Schrä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2504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de-DE" dirty="0"/>
          </a:p>
        </p:txBody>
      </p:sp>
      <p:sp>
        <p:nvSpPr>
          <p:cNvPr id="13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 userDrawn="1"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3" y="1196975"/>
            <a:ext cx="10658475" cy="525621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0" name="Freeform 18">
            <a:extLst>
              <a:ext uri="{FF2B5EF4-FFF2-40B4-BE49-F238E27FC236}">
                <a16:creationId xmlns:a16="http://schemas.microsoft.com/office/drawing/2014/main" id="{05FA0CE4-5D53-C84B-8B20-1E42F54E1EC2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8C5DB09-5C68-4A51-BB61-6A35A5EA54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8645289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2 Texten – Schrä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8820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 userDrawn="1"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4" y="1196975"/>
            <a:ext cx="5149850" cy="525621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17B5D8E8-898B-4E41-A0C6-864F12D3D0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196975"/>
            <a:ext cx="5149850" cy="525621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1" name="Freeform 18">
            <a:extLst>
              <a:ext uri="{FF2B5EF4-FFF2-40B4-BE49-F238E27FC236}">
                <a16:creationId xmlns:a16="http://schemas.microsoft.com/office/drawing/2014/main" id="{4209D648-2061-5046-99E8-F0032076507F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46CA8B-55FE-4609-B8B1-366C2FDEAA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03336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Text und Bild (links) – Schrä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5980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 userDrawn="1"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17B5D8E8-898B-4E41-A0C6-864F12D3D0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196975"/>
            <a:ext cx="5149850" cy="525621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A6C50B6-EE9C-4EAD-9302-1089F6C9374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66763" y="1196974"/>
            <a:ext cx="5149849" cy="5256213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1" name="Freeform 18">
            <a:extLst>
              <a:ext uri="{FF2B5EF4-FFF2-40B4-BE49-F238E27FC236}">
                <a16:creationId xmlns:a16="http://schemas.microsoft.com/office/drawing/2014/main" id="{634F4E53-68FE-5B4B-AFEA-A9D856AB7EE4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382014B-9E10-4003-A8A5-0A7AE084A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30132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Nur TItel 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6179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Freihandform: Form 36">
            <a:extLst>
              <a:ext uri="{FF2B5EF4-FFF2-40B4-BE49-F238E27FC236}">
                <a16:creationId xmlns:a16="http://schemas.microsoft.com/office/drawing/2014/main" id="{A7F06665-152A-4CED-B3D8-729B25AB76E1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0" name="Freihandform: Form 21">
            <a:extLst>
              <a:ext uri="{FF2B5EF4-FFF2-40B4-BE49-F238E27FC236}">
                <a16:creationId xmlns:a16="http://schemas.microsoft.com/office/drawing/2014/main" id="{4BA9D35E-1141-428C-9F79-E0BDCB6AA114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1" name="Freeform 18">
            <a:extLst>
              <a:ext uri="{FF2B5EF4-FFF2-40B4-BE49-F238E27FC236}">
                <a16:creationId xmlns:a16="http://schemas.microsoft.com/office/drawing/2014/main" id="{7B349B1B-53F0-B14F-9FF7-28103A8A48C0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AF1B2C0-D18A-47DE-998E-0E5C6DB85A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11691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Text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6385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ihandform: Form 36">
            <a:extLst>
              <a:ext uri="{FF2B5EF4-FFF2-40B4-BE49-F238E27FC236}">
                <a16:creationId xmlns:a16="http://schemas.microsoft.com/office/drawing/2014/main" id="{12AB1E37-61EF-4B21-87C8-62D9A96380FA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1" name="Freihandform: Form 21">
            <a:extLst>
              <a:ext uri="{FF2B5EF4-FFF2-40B4-BE49-F238E27FC236}">
                <a16:creationId xmlns:a16="http://schemas.microsoft.com/office/drawing/2014/main" id="{AB9A4A69-642E-4B6F-BC03-A66E21D39775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3" y="1196975"/>
            <a:ext cx="10658475" cy="410065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BA3FB8F9-523F-3F49-BA47-CE86CA467970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16F4FFE-663F-4DB8-AC2E-A5EDBB1291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6418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links // Bild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5">
            <a:extLst>
              <a:ext uri="{FF2B5EF4-FFF2-40B4-BE49-F238E27FC236}">
                <a16:creationId xmlns:a16="http://schemas.microsoft.com/office/drawing/2014/main" id="{7258EA99-7DAC-3E40-9C09-6999BF263A6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222241" y="0"/>
            <a:ext cx="6969759" cy="6858000"/>
          </a:xfrm>
          <a:custGeom>
            <a:avLst/>
            <a:gdLst>
              <a:gd name="connsiteX0" fmla="*/ 0 w 6969759"/>
              <a:gd name="connsiteY0" fmla="*/ 0 h 6858000"/>
              <a:gd name="connsiteX1" fmla="*/ 6969759 w 6969759"/>
              <a:gd name="connsiteY1" fmla="*/ 0 h 6858000"/>
              <a:gd name="connsiteX2" fmla="*/ 6969759 w 6969759"/>
              <a:gd name="connsiteY2" fmla="*/ 6858000 h 6858000"/>
              <a:gd name="connsiteX3" fmla="*/ 508945 w 6969759"/>
              <a:gd name="connsiteY3" fmla="*/ 6858000 h 6858000"/>
              <a:gd name="connsiteX4" fmla="*/ 3706883 w 6969759"/>
              <a:gd name="connsiteY4" fmla="*/ 1 h 6858000"/>
              <a:gd name="connsiteX5" fmla="*/ 833898 w 6969759"/>
              <a:gd name="connsiteY5" fmla="*/ 1 h 6858000"/>
              <a:gd name="connsiteX6" fmla="*/ 833897 w 6969759"/>
              <a:gd name="connsiteY6" fmla="*/ 4 h 6858000"/>
              <a:gd name="connsiteX7" fmla="*/ 0 w 6969759"/>
              <a:gd name="connsiteY7" fmla="*/ 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69759" h="6858000">
                <a:moveTo>
                  <a:pt x="0" y="0"/>
                </a:moveTo>
                <a:lnTo>
                  <a:pt x="6969759" y="0"/>
                </a:lnTo>
                <a:lnTo>
                  <a:pt x="6969759" y="6858000"/>
                </a:lnTo>
                <a:lnTo>
                  <a:pt x="508945" y="6858000"/>
                </a:lnTo>
                <a:lnTo>
                  <a:pt x="3706883" y="1"/>
                </a:lnTo>
                <a:lnTo>
                  <a:pt x="833898" y="1"/>
                </a:lnTo>
                <a:lnTo>
                  <a:pt x="833897" y="4"/>
                </a:lnTo>
                <a:lnTo>
                  <a:pt x="0" y="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2581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Freihandform: Form 23">
            <a:extLst>
              <a:ext uri="{FF2B5EF4-FFF2-40B4-BE49-F238E27FC236}">
                <a16:creationId xmlns:a16="http://schemas.microsoft.com/office/drawing/2014/main" id="{D17C017F-76C8-4520-8E7D-038F187A2379}"/>
              </a:ext>
            </a:extLst>
          </p:cNvPr>
          <p:cNvSpPr/>
          <p:nvPr userDrawn="1"/>
        </p:nvSpPr>
        <p:spPr>
          <a:xfrm rot="5400000" flipH="1">
            <a:off x="1035562" y="-1035561"/>
            <a:ext cx="6858000" cy="8929123"/>
          </a:xfrm>
          <a:custGeom>
            <a:avLst/>
            <a:gdLst>
              <a:gd name="connsiteX0" fmla="*/ 6858000 w 6858000"/>
              <a:gd name="connsiteY0" fmla="*/ 2872985 h 8929123"/>
              <a:gd name="connsiteX1" fmla="*/ 6858000 w 6858000"/>
              <a:gd name="connsiteY1" fmla="*/ 0 h 8929123"/>
              <a:gd name="connsiteX2" fmla="*/ 0 w 6858000"/>
              <a:gd name="connsiteY2" fmla="*/ 3197938 h 8929123"/>
              <a:gd name="connsiteX3" fmla="*/ 0 w 6858000"/>
              <a:gd name="connsiteY3" fmla="*/ 8929123 h 8929123"/>
              <a:gd name="connsiteX4" fmla="*/ 6857997 w 6858000"/>
              <a:gd name="connsiteY4" fmla="*/ 8929123 h 8929123"/>
              <a:gd name="connsiteX5" fmla="*/ 6857997 w 6858000"/>
              <a:gd name="connsiteY5" fmla="*/ 2872986 h 8929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58000" h="8929123">
                <a:moveTo>
                  <a:pt x="6858000" y="2872985"/>
                </a:moveTo>
                <a:lnTo>
                  <a:pt x="6858000" y="0"/>
                </a:lnTo>
                <a:lnTo>
                  <a:pt x="0" y="3197938"/>
                </a:lnTo>
                <a:lnTo>
                  <a:pt x="0" y="8929123"/>
                </a:lnTo>
                <a:lnTo>
                  <a:pt x="6857997" y="8929123"/>
                </a:lnTo>
                <a:lnTo>
                  <a:pt x="6857997" y="2872986"/>
                </a:lnTo>
                <a:close/>
              </a:path>
            </a:pathLst>
          </a:cu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277EBB7D-F249-4E77-9B9C-BD9DBD49E7EB}"/>
              </a:ext>
            </a:extLst>
          </p:cNvPr>
          <p:cNvSpPr/>
          <p:nvPr userDrawn="1"/>
        </p:nvSpPr>
        <p:spPr>
          <a:xfrm>
            <a:off x="23446" y="4782085"/>
            <a:ext cx="2503570" cy="2075914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92C11B">
              <a:alpha val="41961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2187806"/>
            <a:ext cx="6050183" cy="984885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32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6F3D174-89D1-411B-90BD-5D8D57671A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1" y="3652838"/>
            <a:ext cx="9212849" cy="738664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14" name="Grafik 7">
            <a:extLst>
              <a:ext uri="{FF2B5EF4-FFF2-40B4-BE49-F238E27FC236}">
                <a16:creationId xmlns:a16="http://schemas.microsoft.com/office/drawing/2014/main" id="{91C20983-4BB4-481B-8202-F63F178E34B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973" y="5869536"/>
            <a:ext cx="3175725" cy="531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281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 userDrawn="1">
          <p15:clr>
            <a:srgbClr val="F26B43"/>
          </p15:clr>
        </p15:guide>
        <p15:guide id="2" pos="483" userDrawn="1">
          <p15:clr>
            <a:srgbClr val="A4A3A4"/>
          </p15:clr>
        </p15:guide>
        <p15:guide id="3" orient="horz" pos="754" userDrawn="1">
          <p15:clr>
            <a:srgbClr val="A4A3A4"/>
          </p15:clr>
        </p15:guide>
        <p15:guide id="4" orient="horz" pos="640" userDrawn="1">
          <p15:clr>
            <a:srgbClr val="A4A3A4"/>
          </p15:clr>
        </p15:guide>
        <p15:guide id="5" orient="horz" pos="210" userDrawn="1">
          <p15:clr>
            <a:srgbClr val="A4A3A4"/>
          </p15:clr>
        </p15:guide>
        <p15:guide id="6" orient="horz" pos="4065" userDrawn="1">
          <p15:clr>
            <a:srgbClr val="A4A3A4"/>
          </p15:clr>
        </p15:guide>
        <p15:guide id="7" pos="7197" userDrawn="1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2 Texten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0639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Freihandform: Form 36">
            <a:extLst>
              <a:ext uri="{FF2B5EF4-FFF2-40B4-BE49-F238E27FC236}">
                <a16:creationId xmlns:a16="http://schemas.microsoft.com/office/drawing/2014/main" id="{32602135-06AE-406F-B9AE-A5B574514972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8" name="Freihandform: Form 21">
            <a:extLst>
              <a:ext uri="{FF2B5EF4-FFF2-40B4-BE49-F238E27FC236}">
                <a16:creationId xmlns:a16="http://schemas.microsoft.com/office/drawing/2014/main" id="{91494A3C-5CE0-4053-9C1C-2A08D165B0C0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4" y="1196976"/>
            <a:ext cx="5149850" cy="410064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17B5D8E8-898B-4E41-A0C6-864F12D3D0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196976"/>
            <a:ext cx="5149850" cy="410065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96E79C0D-9CB3-5241-8E38-AA450520B8C8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D5EEE30-6705-44A0-891F-536BF776F2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0298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333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Text und Bild (links)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22063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Freihandform: Form 36">
            <a:extLst>
              <a:ext uri="{FF2B5EF4-FFF2-40B4-BE49-F238E27FC236}">
                <a16:creationId xmlns:a16="http://schemas.microsoft.com/office/drawing/2014/main" id="{32602135-06AE-406F-B9AE-A5B574514972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8" name="Freihandform: Form 21">
            <a:extLst>
              <a:ext uri="{FF2B5EF4-FFF2-40B4-BE49-F238E27FC236}">
                <a16:creationId xmlns:a16="http://schemas.microsoft.com/office/drawing/2014/main" id="{91494A3C-5CE0-4053-9C1C-2A08D165B0C0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17B5D8E8-898B-4E41-A0C6-864F12D3D0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196976"/>
            <a:ext cx="5149850" cy="410064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1E1B4485-1F72-42D7-ACC3-9EDC24543BB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66763" y="1196974"/>
            <a:ext cx="5149849" cy="4965818"/>
          </a:xfrm>
          <a:custGeom>
            <a:avLst/>
            <a:gdLst>
              <a:gd name="connsiteX0" fmla="*/ 0 w 5149849"/>
              <a:gd name="connsiteY0" fmla="*/ 0 h 4965818"/>
              <a:gd name="connsiteX1" fmla="*/ 5149849 w 5149849"/>
              <a:gd name="connsiteY1" fmla="*/ 0 h 4965818"/>
              <a:gd name="connsiteX2" fmla="*/ 5149849 w 5149849"/>
              <a:gd name="connsiteY2" fmla="*/ 4468436 h 4965818"/>
              <a:gd name="connsiteX3" fmla="*/ 0 w 5149849"/>
              <a:gd name="connsiteY3" fmla="*/ 4965818 h 4965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49849" h="4965818">
                <a:moveTo>
                  <a:pt x="0" y="0"/>
                </a:moveTo>
                <a:lnTo>
                  <a:pt x="5149849" y="0"/>
                </a:lnTo>
                <a:lnTo>
                  <a:pt x="5149849" y="4468436"/>
                </a:lnTo>
                <a:lnTo>
                  <a:pt x="0" y="4965818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C13D84C5-27C9-8244-AE4C-B1FF9BA7BDD8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4D003A0-D044-4DCD-B55E-66422C600D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5804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3566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Text und Bild (rechts)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28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Freihandform: Form 36">
            <a:extLst>
              <a:ext uri="{FF2B5EF4-FFF2-40B4-BE49-F238E27FC236}">
                <a16:creationId xmlns:a16="http://schemas.microsoft.com/office/drawing/2014/main" id="{32602135-06AE-406F-B9AE-A5B574514972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8" name="Freihandform: Form 21">
            <a:extLst>
              <a:ext uri="{FF2B5EF4-FFF2-40B4-BE49-F238E27FC236}">
                <a16:creationId xmlns:a16="http://schemas.microsoft.com/office/drawing/2014/main" id="{91494A3C-5CE0-4053-9C1C-2A08D165B0C0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A7CB5D3-8679-4C40-98D0-C4A69CB342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4" y="1196976"/>
            <a:ext cx="5149850" cy="446405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1D8CB5B5-C1E3-4EDF-9F8A-AF64BDF3632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75389" y="1196975"/>
            <a:ext cx="5149849" cy="4439485"/>
          </a:xfrm>
          <a:custGeom>
            <a:avLst/>
            <a:gdLst>
              <a:gd name="connsiteX0" fmla="*/ 0 w 5149849"/>
              <a:gd name="connsiteY0" fmla="*/ 0 h 4439485"/>
              <a:gd name="connsiteX1" fmla="*/ 5149849 w 5149849"/>
              <a:gd name="connsiteY1" fmla="*/ 0 h 4439485"/>
              <a:gd name="connsiteX2" fmla="*/ 5149849 w 5149849"/>
              <a:gd name="connsiteY2" fmla="*/ 3942103 h 4439485"/>
              <a:gd name="connsiteX3" fmla="*/ 0 w 5149849"/>
              <a:gd name="connsiteY3" fmla="*/ 4439485 h 4439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49849" h="4439485">
                <a:moveTo>
                  <a:pt x="0" y="0"/>
                </a:moveTo>
                <a:lnTo>
                  <a:pt x="5149849" y="0"/>
                </a:lnTo>
                <a:lnTo>
                  <a:pt x="5149849" y="3942103"/>
                </a:lnTo>
                <a:lnTo>
                  <a:pt x="0" y="443948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F5D9D0D2-7EDA-4947-AB3D-52786C15FACA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BB85738-5B86-46A3-A123-248D01111F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916910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358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Text und Bild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8152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1D09B2C-D8C1-41B9-BF6B-D36D9023B68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3" y="1196976"/>
            <a:ext cx="10658475" cy="35488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1" name="Freeform 18">
            <a:extLst>
              <a:ext uri="{FF2B5EF4-FFF2-40B4-BE49-F238E27FC236}">
                <a16:creationId xmlns:a16="http://schemas.microsoft.com/office/drawing/2014/main" id="{19927C1F-62FD-0A46-8A61-573819706D54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5AF321D-0B4D-4551-BEC7-9EEC195A0E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36536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ÜN // Nur TItel – Schrä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0047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3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 userDrawn="1"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9" name="Freeform 18">
            <a:extLst>
              <a:ext uri="{FF2B5EF4-FFF2-40B4-BE49-F238E27FC236}">
                <a16:creationId xmlns:a16="http://schemas.microsoft.com/office/drawing/2014/main" id="{8BE06C8C-7049-2545-905A-C16E8F707408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DF9595B-11B3-4259-84E9-EA0F02B6A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3595615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ÜN // Titel mit Text – Schrä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616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 userDrawn="1"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3" y="1196975"/>
            <a:ext cx="10658475" cy="5256213"/>
          </a:xfrm>
        </p:spPr>
        <p:txBody>
          <a:bodyPr/>
          <a:lstStyle>
            <a:lvl1pPr>
              <a:defRPr spc="0"/>
            </a:lvl1pPr>
            <a:lvl2pPr>
              <a:defRPr spc="0"/>
            </a:lvl2pPr>
            <a:lvl3pPr>
              <a:defRPr spc="0"/>
            </a:lvl3pPr>
            <a:lvl4pPr>
              <a:defRPr spc="0"/>
            </a:lvl4pPr>
            <a:lvl5pPr>
              <a:defRPr spc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Freeform 18">
            <a:extLst>
              <a:ext uri="{FF2B5EF4-FFF2-40B4-BE49-F238E27FC236}">
                <a16:creationId xmlns:a16="http://schemas.microsoft.com/office/drawing/2014/main" id="{6580AE2E-E7A4-8147-9D10-46D4FED9C736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D37B052-2223-4CD4-B48D-85AE3175C6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3472614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ÜN // Titel mit 2 Texten – Schrä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1498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 userDrawn="1"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4" y="1196975"/>
            <a:ext cx="5149850" cy="525621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17B5D8E8-898B-4E41-A0C6-864F12D3D0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196975"/>
            <a:ext cx="5149850" cy="525621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1" name="Freeform 18">
            <a:extLst>
              <a:ext uri="{FF2B5EF4-FFF2-40B4-BE49-F238E27FC236}">
                <a16:creationId xmlns:a16="http://schemas.microsoft.com/office/drawing/2014/main" id="{95936665-1D34-4541-BAA1-D13E54A42DF7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4BE0294-C1AD-463F-9932-14FF898FDD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330921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ÜN // Nur TItel 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2515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9" name="Freihandform: Form 36">
            <a:extLst>
              <a:ext uri="{FF2B5EF4-FFF2-40B4-BE49-F238E27FC236}">
                <a16:creationId xmlns:a16="http://schemas.microsoft.com/office/drawing/2014/main" id="{A7F06665-152A-4CED-B3D8-729B25AB76E1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0" name="Freihandform: Form 21">
            <a:extLst>
              <a:ext uri="{FF2B5EF4-FFF2-40B4-BE49-F238E27FC236}">
                <a16:creationId xmlns:a16="http://schemas.microsoft.com/office/drawing/2014/main" id="{4BA9D35E-1141-428C-9F79-E0BDCB6AA114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1" name="Freeform 18">
            <a:extLst>
              <a:ext uri="{FF2B5EF4-FFF2-40B4-BE49-F238E27FC236}">
                <a16:creationId xmlns:a16="http://schemas.microsoft.com/office/drawing/2014/main" id="{FF28E917-7CDB-B047-85A6-D68875D6D2BB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5D3F80B-02F8-465D-BCDE-DF5E4A68D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15848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ÜN // Titel mit Text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4943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" name="Freihandform: Form 36">
            <a:extLst>
              <a:ext uri="{FF2B5EF4-FFF2-40B4-BE49-F238E27FC236}">
                <a16:creationId xmlns:a16="http://schemas.microsoft.com/office/drawing/2014/main" id="{12AB1E37-61EF-4B21-87C8-62D9A96380FA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1" name="Freihandform: Form 21">
            <a:extLst>
              <a:ext uri="{FF2B5EF4-FFF2-40B4-BE49-F238E27FC236}">
                <a16:creationId xmlns:a16="http://schemas.microsoft.com/office/drawing/2014/main" id="{AB9A4A69-642E-4B6F-BC03-A66E21D39775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3" y="1196976"/>
            <a:ext cx="10658475" cy="4100650"/>
          </a:xfrm>
        </p:spPr>
        <p:txBody>
          <a:bodyPr/>
          <a:lstStyle>
            <a:lvl1pPr>
              <a:defRPr spc="0"/>
            </a:lvl1pPr>
            <a:lvl2pPr>
              <a:defRPr spc="0"/>
            </a:lvl2pPr>
            <a:lvl3pPr>
              <a:defRPr spc="0"/>
            </a:lvl3pPr>
            <a:lvl4pPr>
              <a:defRPr spc="0"/>
            </a:lvl4pPr>
            <a:lvl5pPr>
              <a:defRPr spc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A9207D9E-A8D2-D441-8F1A-99EA8AC89D59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A46B979-61EF-4DDE-850D-A9C522E487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760312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ÜN // Titel mit 2 Texten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1195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Freihandform: Form 36">
            <a:extLst>
              <a:ext uri="{FF2B5EF4-FFF2-40B4-BE49-F238E27FC236}">
                <a16:creationId xmlns:a16="http://schemas.microsoft.com/office/drawing/2014/main" id="{32602135-06AE-406F-B9AE-A5B574514972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8" name="Freihandform: Form 21">
            <a:extLst>
              <a:ext uri="{FF2B5EF4-FFF2-40B4-BE49-F238E27FC236}">
                <a16:creationId xmlns:a16="http://schemas.microsoft.com/office/drawing/2014/main" id="{91494A3C-5CE0-4053-9C1C-2A08D165B0C0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4" y="1196975"/>
            <a:ext cx="5149850" cy="410033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17B5D8E8-898B-4E41-A0C6-864F12D3D0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196976"/>
            <a:ext cx="5149850" cy="410065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9EBD5B88-9E28-0843-BBBC-03C3B8F7928B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B3124B4-073E-4AA4-A8AF-077A24B5A0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403067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3339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links // Bild f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7112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ADA371A-43BB-4A0E-AC24-3821A653AD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06475" y="-1"/>
            <a:ext cx="8189789" cy="6858001"/>
          </a:xfrm>
          <a:prstGeom prst="rect">
            <a:avLst/>
          </a:prstGeom>
        </p:spPr>
      </p:pic>
      <p:sp>
        <p:nvSpPr>
          <p:cNvPr id="6" name="Freihandform: Form 23">
            <a:extLst>
              <a:ext uri="{FF2B5EF4-FFF2-40B4-BE49-F238E27FC236}">
                <a16:creationId xmlns:a16="http://schemas.microsoft.com/office/drawing/2014/main" id="{D17C017F-76C8-4520-8E7D-038F187A2379}"/>
              </a:ext>
            </a:extLst>
          </p:cNvPr>
          <p:cNvSpPr/>
          <p:nvPr userDrawn="1"/>
        </p:nvSpPr>
        <p:spPr>
          <a:xfrm rot="5400000" flipH="1">
            <a:off x="1035562" y="-1035561"/>
            <a:ext cx="6858000" cy="8929123"/>
          </a:xfrm>
          <a:custGeom>
            <a:avLst/>
            <a:gdLst>
              <a:gd name="connsiteX0" fmla="*/ 6858000 w 6858000"/>
              <a:gd name="connsiteY0" fmla="*/ 2872985 h 8929123"/>
              <a:gd name="connsiteX1" fmla="*/ 6858000 w 6858000"/>
              <a:gd name="connsiteY1" fmla="*/ 0 h 8929123"/>
              <a:gd name="connsiteX2" fmla="*/ 0 w 6858000"/>
              <a:gd name="connsiteY2" fmla="*/ 3197938 h 8929123"/>
              <a:gd name="connsiteX3" fmla="*/ 0 w 6858000"/>
              <a:gd name="connsiteY3" fmla="*/ 8929123 h 8929123"/>
              <a:gd name="connsiteX4" fmla="*/ 6857997 w 6858000"/>
              <a:gd name="connsiteY4" fmla="*/ 8929123 h 8929123"/>
              <a:gd name="connsiteX5" fmla="*/ 6857997 w 6858000"/>
              <a:gd name="connsiteY5" fmla="*/ 2872986 h 8929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58000" h="8929123">
                <a:moveTo>
                  <a:pt x="6858000" y="2872985"/>
                </a:moveTo>
                <a:lnTo>
                  <a:pt x="6858000" y="0"/>
                </a:lnTo>
                <a:lnTo>
                  <a:pt x="0" y="3197938"/>
                </a:lnTo>
                <a:lnTo>
                  <a:pt x="0" y="8929123"/>
                </a:lnTo>
                <a:lnTo>
                  <a:pt x="6857997" y="8929123"/>
                </a:lnTo>
                <a:lnTo>
                  <a:pt x="6857997" y="2872986"/>
                </a:lnTo>
                <a:close/>
              </a:path>
            </a:pathLst>
          </a:cu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277EBB7D-F249-4E77-9B9C-BD9DBD49E7EB}"/>
              </a:ext>
            </a:extLst>
          </p:cNvPr>
          <p:cNvSpPr/>
          <p:nvPr userDrawn="1"/>
        </p:nvSpPr>
        <p:spPr>
          <a:xfrm>
            <a:off x="23446" y="4782085"/>
            <a:ext cx="2503570" cy="2075914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92C11B">
              <a:alpha val="41961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2187806"/>
            <a:ext cx="6050183" cy="984885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32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6F3D174-89D1-411B-90BD-5D8D57671A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1" y="3652838"/>
            <a:ext cx="9212849" cy="738664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14" name="Grafik 7">
            <a:extLst>
              <a:ext uri="{FF2B5EF4-FFF2-40B4-BE49-F238E27FC236}">
                <a16:creationId xmlns:a16="http://schemas.microsoft.com/office/drawing/2014/main" id="{91C20983-4BB4-481B-8202-F63F178E34B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973" y="5869536"/>
            <a:ext cx="3175725" cy="531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888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 userDrawn="1">
          <p15:clr>
            <a:srgbClr val="F26B43"/>
          </p15:clr>
        </p15:guide>
        <p15:guide id="2" pos="483" userDrawn="1">
          <p15:clr>
            <a:srgbClr val="A4A3A4"/>
          </p15:clr>
        </p15:guide>
        <p15:guide id="3" orient="horz" pos="754" userDrawn="1">
          <p15:clr>
            <a:srgbClr val="A4A3A4"/>
          </p15:clr>
        </p15:guide>
        <p15:guide id="4" orient="horz" pos="640" userDrawn="1">
          <p15:clr>
            <a:srgbClr val="A4A3A4"/>
          </p15:clr>
        </p15:guide>
        <p15:guide id="5" orient="horz" pos="210" userDrawn="1">
          <p15:clr>
            <a:srgbClr val="A4A3A4"/>
          </p15:clr>
        </p15:guide>
        <p15:guide id="6" orient="horz" pos="4065" userDrawn="1">
          <p15:clr>
            <a:srgbClr val="A4A3A4"/>
          </p15:clr>
        </p15:guide>
        <p15:guide id="7" pos="7197" userDrawn="1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e mit Bildplatzhalter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0816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Picture Placeholder 63">
            <a:extLst>
              <a:ext uri="{FF2B5EF4-FFF2-40B4-BE49-F238E27FC236}">
                <a16:creationId xmlns:a16="http://schemas.microsoft.com/office/drawing/2014/main" id="{004056D1-7168-4A16-801D-88B4BF20AE3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EC70416A-78D1-4FAA-9263-419E74D1E3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4" y="335582"/>
            <a:ext cx="5185237" cy="5234188"/>
          </a:xfrm>
          <a:custGeom>
            <a:avLst/>
            <a:gdLst>
              <a:gd name="connsiteX0" fmla="*/ 0 w 5185237"/>
              <a:gd name="connsiteY0" fmla="*/ 0 h 5234188"/>
              <a:gd name="connsiteX1" fmla="*/ 5185237 w 5185237"/>
              <a:gd name="connsiteY1" fmla="*/ 0 h 5234188"/>
              <a:gd name="connsiteX2" fmla="*/ 5185237 w 5185237"/>
              <a:gd name="connsiteY2" fmla="*/ 4735298 h 5234188"/>
              <a:gd name="connsiteX3" fmla="*/ 2431692 w 5185237"/>
              <a:gd name="connsiteY3" fmla="*/ 5000227 h 5234188"/>
              <a:gd name="connsiteX4" fmla="*/ 0 w 5185237"/>
              <a:gd name="connsiteY4" fmla="*/ 5234188 h 5234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85237" h="5234188">
                <a:moveTo>
                  <a:pt x="0" y="0"/>
                </a:moveTo>
                <a:lnTo>
                  <a:pt x="5185237" y="0"/>
                </a:lnTo>
                <a:lnTo>
                  <a:pt x="5185237" y="4735298"/>
                </a:lnTo>
                <a:lnTo>
                  <a:pt x="2431692" y="5000227"/>
                </a:lnTo>
                <a:lnTo>
                  <a:pt x="0" y="523418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360000" tIns="504000" rIns="360000" bIns="504000">
            <a:noAutofit/>
          </a:bodyPr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D38BFF1B-73CF-4984-9F29-2D30CCD703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40000" y="335585"/>
            <a:ext cx="5185236" cy="4707587"/>
          </a:xfrm>
          <a:custGeom>
            <a:avLst/>
            <a:gdLst>
              <a:gd name="connsiteX0" fmla="*/ 0 w 5185236"/>
              <a:gd name="connsiteY0" fmla="*/ 0 h 4707587"/>
              <a:gd name="connsiteX1" fmla="*/ 5185236 w 5185236"/>
              <a:gd name="connsiteY1" fmla="*/ 0 h 4707587"/>
              <a:gd name="connsiteX2" fmla="*/ 5185236 w 5185236"/>
              <a:gd name="connsiteY2" fmla="*/ 4208697 h 4707587"/>
              <a:gd name="connsiteX3" fmla="*/ 0 w 5185236"/>
              <a:gd name="connsiteY3" fmla="*/ 4707587 h 4707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85236" h="4707587">
                <a:moveTo>
                  <a:pt x="0" y="0"/>
                </a:moveTo>
                <a:lnTo>
                  <a:pt x="5185236" y="0"/>
                </a:lnTo>
                <a:lnTo>
                  <a:pt x="5185236" y="4208697"/>
                </a:lnTo>
                <a:lnTo>
                  <a:pt x="0" y="470758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504000" rIns="360000" bIns="504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7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9" name="Text Placeholder 57">
            <a:extLst>
              <a:ext uri="{FF2B5EF4-FFF2-40B4-BE49-F238E27FC236}">
                <a16:creationId xmlns:a16="http://schemas.microsoft.com/office/drawing/2014/main" id="{0E6FBE4D-8582-45C3-B225-A176E840E4D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26361" y="3558602"/>
            <a:ext cx="2069066" cy="1715020"/>
          </a:xfr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l="117"/>
            </a:stretch>
          </a:blipFill>
        </p:spPr>
        <p:txBody>
          <a:bodyPr anchor="ctr"/>
          <a:lstStyle>
            <a:lvl1pPr marL="0" indent="0" algn="ctr">
              <a:buNone/>
              <a:defRPr>
                <a:blipFill>
                  <a:blip r:embed="rId8"/>
                  <a:stretch>
                    <a:fillRect l="117"/>
                  </a:stretch>
                </a:blipFill>
                <a:effectLst>
                  <a:outerShdw blurRad="50800" dist="50800" dir="5400000" algn="ctr" rotWithShape="0">
                    <a:srgbClr val="000000"/>
                  </a:outerShdw>
                </a:effectLst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E292EBB7-7039-4D87-BCDC-FB6BB4FB0E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28201" y="4484284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6251894B-5D3F-C541-B52A-E62499E80655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71443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 userDrawn="1">
          <p15:clr>
            <a:srgbClr val="F26B43"/>
          </p15:clr>
        </p15:guide>
        <p15:guide id="4" pos="3931" userDrawn="1">
          <p15:clr>
            <a:srgbClr val="F26B43"/>
          </p15:clr>
        </p15:guide>
        <p15:guide id="5" orient="horz" pos="754" userDrawn="1">
          <p15:clr>
            <a:srgbClr val="A4A3A4"/>
          </p15:clr>
        </p15:guide>
        <p15:guide id="6" orient="horz" pos="640" userDrawn="1">
          <p15:clr>
            <a:srgbClr val="A4A3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e mit Bildplatzhalter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0641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4" name="Picture Placeholder 63">
            <a:extLst>
              <a:ext uri="{FF2B5EF4-FFF2-40B4-BE49-F238E27FC236}">
                <a16:creationId xmlns:a16="http://schemas.microsoft.com/office/drawing/2014/main" id="{60ED6361-F72E-4082-BD9A-CC3E00274DD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70195F57-E2B4-4C17-921E-D0505DD50D4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4" y="335583"/>
            <a:ext cx="3349484" cy="5230829"/>
          </a:xfrm>
          <a:custGeom>
            <a:avLst/>
            <a:gdLst>
              <a:gd name="connsiteX0" fmla="*/ 0 w 3349484"/>
              <a:gd name="connsiteY0" fmla="*/ 0 h 5230829"/>
              <a:gd name="connsiteX1" fmla="*/ 3349484 w 3349484"/>
              <a:gd name="connsiteY1" fmla="*/ 0 h 5230829"/>
              <a:gd name="connsiteX2" fmla="*/ 3349484 w 3349484"/>
              <a:gd name="connsiteY2" fmla="*/ 4907329 h 5230829"/>
              <a:gd name="connsiteX3" fmla="*/ 0 w 3349484"/>
              <a:gd name="connsiteY3" fmla="*/ 5230829 h 5230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9484" h="5230829">
                <a:moveTo>
                  <a:pt x="0" y="0"/>
                </a:moveTo>
                <a:lnTo>
                  <a:pt x="3349484" y="0"/>
                </a:lnTo>
                <a:lnTo>
                  <a:pt x="3349484" y="4907329"/>
                </a:lnTo>
                <a:lnTo>
                  <a:pt x="0" y="5230829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360000" tIns="360000" rIns="360000" bIns="360000">
            <a:noAutofit/>
          </a:bodyPr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42F5AE94-26CB-4B52-9D32-BB3573223A2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03725" y="335583"/>
            <a:ext cx="3384549" cy="4879564"/>
          </a:xfrm>
          <a:custGeom>
            <a:avLst/>
            <a:gdLst>
              <a:gd name="connsiteX0" fmla="*/ 0 w 3384549"/>
              <a:gd name="connsiteY0" fmla="*/ 0 h 4879564"/>
              <a:gd name="connsiteX1" fmla="*/ 3384549 w 3384549"/>
              <a:gd name="connsiteY1" fmla="*/ 0 h 4879564"/>
              <a:gd name="connsiteX2" fmla="*/ 3384549 w 3384549"/>
              <a:gd name="connsiteY2" fmla="*/ 4552678 h 4879564"/>
              <a:gd name="connsiteX3" fmla="*/ 0 w 3384549"/>
              <a:gd name="connsiteY3" fmla="*/ 4879564 h 4879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84549" h="4879564">
                <a:moveTo>
                  <a:pt x="0" y="0"/>
                </a:moveTo>
                <a:lnTo>
                  <a:pt x="3384549" y="0"/>
                </a:lnTo>
                <a:lnTo>
                  <a:pt x="3384549" y="4552678"/>
                </a:lnTo>
                <a:lnTo>
                  <a:pt x="0" y="487956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36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7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6" name="Text Placeholder 55">
            <a:extLst>
              <a:ext uri="{FF2B5EF4-FFF2-40B4-BE49-F238E27FC236}">
                <a16:creationId xmlns:a16="http://schemas.microsoft.com/office/drawing/2014/main" id="{B081B6C1-45B0-4E79-BBD7-9988F5587DD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75751" y="335583"/>
            <a:ext cx="3349487" cy="4524912"/>
          </a:xfrm>
          <a:custGeom>
            <a:avLst/>
            <a:gdLst>
              <a:gd name="connsiteX0" fmla="*/ 0 w 3349487"/>
              <a:gd name="connsiteY0" fmla="*/ 0 h 4524912"/>
              <a:gd name="connsiteX1" fmla="*/ 3349487 w 3349487"/>
              <a:gd name="connsiteY1" fmla="*/ 0 h 4524912"/>
              <a:gd name="connsiteX2" fmla="*/ 3349487 w 3349487"/>
              <a:gd name="connsiteY2" fmla="*/ 4201413 h 4524912"/>
              <a:gd name="connsiteX3" fmla="*/ 0 w 3349487"/>
              <a:gd name="connsiteY3" fmla="*/ 4524912 h 452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9487" h="4524912">
                <a:moveTo>
                  <a:pt x="0" y="0"/>
                </a:moveTo>
                <a:lnTo>
                  <a:pt x="3349487" y="0"/>
                </a:lnTo>
                <a:lnTo>
                  <a:pt x="3349487" y="4201413"/>
                </a:lnTo>
                <a:lnTo>
                  <a:pt x="0" y="4524912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360000" tIns="360000" rIns="360000" bIns="360000">
            <a:noAutofit/>
          </a:bodyPr>
          <a:lstStyle>
            <a:lvl1pPr>
              <a:buClr>
                <a:schemeClr val="tx1"/>
              </a:buClr>
              <a:defRPr spc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pc="0">
                <a:solidFill>
                  <a:schemeClr val="tx1"/>
                </a:solidFill>
              </a:defRPr>
            </a:lvl2pPr>
            <a:lvl3pPr marL="360363" indent="-360363">
              <a:buFontTx/>
              <a:buBlip>
                <a:blip r:embed="rId8"/>
              </a:buBlip>
              <a:defRPr spc="0">
                <a:solidFill>
                  <a:schemeClr val="tx1"/>
                </a:solidFill>
              </a:defRPr>
            </a:lvl3pPr>
            <a:lvl4pPr>
              <a:defRPr spc="0">
                <a:solidFill>
                  <a:schemeClr val="tx1"/>
                </a:solidFill>
              </a:defRPr>
            </a:lvl4pPr>
            <a:lvl5pPr>
              <a:defRPr spc="0">
                <a:solidFill>
                  <a:schemeClr val="tx1"/>
                </a:solidFill>
              </a:defRPr>
            </a:lvl5pPr>
            <a:lvl6pPr>
              <a:defRPr spc="0">
                <a:solidFill>
                  <a:schemeClr val="tx1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9" name="Text Placeholder 57">
            <a:extLst>
              <a:ext uri="{FF2B5EF4-FFF2-40B4-BE49-F238E27FC236}">
                <a16:creationId xmlns:a16="http://schemas.microsoft.com/office/drawing/2014/main" id="{0E6FBE4D-8582-45C3-B225-A176E840E4D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4501" y="3763964"/>
            <a:ext cx="2069066" cy="1715020"/>
          </a:xfrm>
          <a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l="117"/>
            </a:stretch>
          </a:blipFill>
        </p:spPr>
        <p:txBody>
          <a:bodyPr anchor="ctr"/>
          <a:lstStyle>
            <a:lvl1pPr marL="0" indent="0" algn="ctr">
              <a:buNone/>
              <a:defRPr>
                <a:blipFill>
                  <a:blip r:embed="rId9"/>
                  <a:stretch>
                    <a:fillRect l="117"/>
                  </a:stretch>
                </a:blipFill>
                <a:effectLst>
                  <a:outerShdw blurRad="50800" dist="50800" dir="5400000" algn="ctr" rotWithShape="0">
                    <a:srgbClr val="000000"/>
                  </a:outerShdw>
                </a:effectLst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E292EBB7-7039-4D87-BCDC-FB6BB4FB0E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93063" y="4715053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6251894B-5D3F-C541-B52A-E62499E80655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79381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06" userDrawn="1">
          <p15:clr>
            <a:srgbClr val="F26B43"/>
          </p15:clr>
        </p15:guide>
        <p15:guide id="2" pos="2593" userDrawn="1">
          <p15:clr>
            <a:srgbClr val="F26B43"/>
          </p15:clr>
        </p15:guide>
        <p15:guide id="3" pos="2774" userDrawn="1">
          <p15:clr>
            <a:srgbClr val="F26B43"/>
          </p15:clr>
        </p15:guide>
        <p15:guide id="4" pos="5087" userDrawn="1">
          <p15:clr>
            <a:srgbClr val="F26B43"/>
          </p15:clr>
        </p15:guide>
        <p15:guide id="5" orient="horz" pos="754" userDrawn="1">
          <p15:clr>
            <a:srgbClr val="A4A3A4"/>
          </p15:clr>
        </p15:guide>
        <p15:guide id="6" orient="horz" pos="640" userDrawn="1">
          <p15:clr>
            <a:srgbClr val="A4A3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e mit Bildplatzhalter (unten) /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5025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4" name="Picture Placeholder 63">
            <a:extLst>
              <a:ext uri="{FF2B5EF4-FFF2-40B4-BE49-F238E27FC236}">
                <a16:creationId xmlns:a16="http://schemas.microsoft.com/office/drawing/2014/main" id="{60ED6361-F72E-4082-BD9A-CC3E00274DD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70195F57-E2B4-4C17-921E-D0505DD50D4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4" y="335583"/>
            <a:ext cx="3349484" cy="5230829"/>
          </a:xfrm>
          <a:custGeom>
            <a:avLst/>
            <a:gdLst>
              <a:gd name="connsiteX0" fmla="*/ 0 w 3349484"/>
              <a:gd name="connsiteY0" fmla="*/ 0 h 5230829"/>
              <a:gd name="connsiteX1" fmla="*/ 3349484 w 3349484"/>
              <a:gd name="connsiteY1" fmla="*/ 0 h 5230829"/>
              <a:gd name="connsiteX2" fmla="*/ 3349484 w 3349484"/>
              <a:gd name="connsiteY2" fmla="*/ 4907329 h 5230829"/>
              <a:gd name="connsiteX3" fmla="*/ 0 w 3349484"/>
              <a:gd name="connsiteY3" fmla="*/ 5230829 h 5230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9484" h="5230829">
                <a:moveTo>
                  <a:pt x="0" y="0"/>
                </a:moveTo>
                <a:lnTo>
                  <a:pt x="3349484" y="0"/>
                </a:lnTo>
                <a:lnTo>
                  <a:pt x="3349484" y="4907329"/>
                </a:lnTo>
                <a:lnTo>
                  <a:pt x="0" y="5230829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360000" tIns="360000" rIns="360000" bIns="360000">
            <a:noAutofit/>
          </a:bodyPr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42F5AE94-26CB-4B52-9D32-BB3573223A2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03725" y="335583"/>
            <a:ext cx="3384549" cy="4879564"/>
          </a:xfrm>
          <a:custGeom>
            <a:avLst/>
            <a:gdLst>
              <a:gd name="connsiteX0" fmla="*/ 0 w 3384549"/>
              <a:gd name="connsiteY0" fmla="*/ 0 h 4879564"/>
              <a:gd name="connsiteX1" fmla="*/ 3384549 w 3384549"/>
              <a:gd name="connsiteY1" fmla="*/ 0 h 4879564"/>
              <a:gd name="connsiteX2" fmla="*/ 3384549 w 3384549"/>
              <a:gd name="connsiteY2" fmla="*/ 4552678 h 4879564"/>
              <a:gd name="connsiteX3" fmla="*/ 0 w 3384549"/>
              <a:gd name="connsiteY3" fmla="*/ 4879564 h 4879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84549" h="4879564">
                <a:moveTo>
                  <a:pt x="0" y="0"/>
                </a:moveTo>
                <a:lnTo>
                  <a:pt x="3384549" y="0"/>
                </a:lnTo>
                <a:lnTo>
                  <a:pt x="3384549" y="4552678"/>
                </a:lnTo>
                <a:lnTo>
                  <a:pt x="0" y="487956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36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7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9" name="Text Placeholder 57">
            <a:extLst>
              <a:ext uri="{FF2B5EF4-FFF2-40B4-BE49-F238E27FC236}">
                <a16:creationId xmlns:a16="http://schemas.microsoft.com/office/drawing/2014/main" id="{0E6FBE4D-8582-45C3-B225-A176E840E4D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4501" y="3763964"/>
            <a:ext cx="2069066" cy="1715020"/>
          </a:xfr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l="117"/>
            </a:stretch>
          </a:blipFill>
        </p:spPr>
        <p:txBody>
          <a:bodyPr anchor="ctr"/>
          <a:lstStyle>
            <a:lvl1pPr marL="0" indent="0" algn="ctr">
              <a:buNone/>
              <a:defRPr>
                <a:blipFill>
                  <a:blip r:embed="rId8"/>
                  <a:stretch>
                    <a:fillRect l="117"/>
                  </a:stretch>
                </a:blipFill>
                <a:effectLst>
                  <a:outerShdw blurRad="50800" dist="50800" dir="5400000" algn="ctr" rotWithShape="0">
                    <a:srgbClr val="000000"/>
                  </a:outerShdw>
                </a:effectLst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E292EBB7-7039-4D87-BCDC-FB6BB4FB0E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93063" y="4715053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D934306D-3770-2A4E-A9E7-7D0A21B68A9E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3" name="Text Placeholder 55">
            <a:extLst>
              <a:ext uri="{FF2B5EF4-FFF2-40B4-BE49-F238E27FC236}">
                <a16:creationId xmlns:a16="http://schemas.microsoft.com/office/drawing/2014/main" id="{386C06A8-E4A0-47F2-A0F9-69485B85698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75751" y="335583"/>
            <a:ext cx="3349487" cy="4524912"/>
          </a:xfrm>
          <a:custGeom>
            <a:avLst/>
            <a:gdLst>
              <a:gd name="connsiteX0" fmla="*/ 0 w 3349487"/>
              <a:gd name="connsiteY0" fmla="*/ 0 h 4524912"/>
              <a:gd name="connsiteX1" fmla="*/ 3349487 w 3349487"/>
              <a:gd name="connsiteY1" fmla="*/ 0 h 4524912"/>
              <a:gd name="connsiteX2" fmla="*/ 3349487 w 3349487"/>
              <a:gd name="connsiteY2" fmla="*/ 4201413 h 4524912"/>
              <a:gd name="connsiteX3" fmla="*/ 0 w 3349487"/>
              <a:gd name="connsiteY3" fmla="*/ 4524912 h 452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9487" h="4524912">
                <a:moveTo>
                  <a:pt x="0" y="0"/>
                </a:moveTo>
                <a:lnTo>
                  <a:pt x="3349487" y="0"/>
                </a:lnTo>
                <a:lnTo>
                  <a:pt x="3349487" y="4201413"/>
                </a:lnTo>
                <a:lnTo>
                  <a:pt x="0" y="4524912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36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FontTx/>
              <a:buBlip>
                <a:blip r:embed="rId9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065443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06" userDrawn="1">
          <p15:clr>
            <a:srgbClr val="F26B43"/>
          </p15:clr>
        </p15:guide>
        <p15:guide id="2" pos="2593" userDrawn="1">
          <p15:clr>
            <a:srgbClr val="F26B43"/>
          </p15:clr>
        </p15:guide>
        <p15:guide id="3" pos="2774" userDrawn="1">
          <p15:clr>
            <a:srgbClr val="F26B43"/>
          </p15:clr>
        </p15:guide>
        <p15:guide id="4" pos="5087" userDrawn="1">
          <p15:clr>
            <a:srgbClr val="F26B43"/>
          </p15:clr>
        </p15:guide>
        <p15:guide id="5" orient="horz" pos="754" userDrawn="1">
          <p15:clr>
            <a:srgbClr val="A4A3A4"/>
          </p15:clr>
        </p15:guide>
        <p15:guide id="6" orient="horz" pos="640" userDrawn="1">
          <p15:clr>
            <a:srgbClr val="A4A3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e mit Bildplatzhalter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67904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4" name="Picture Placeholder 63">
            <a:extLst>
              <a:ext uri="{FF2B5EF4-FFF2-40B4-BE49-F238E27FC236}">
                <a16:creationId xmlns:a16="http://schemas.microsoft.com/office/drawing/2014/main" id="{60ED6361-F72E-4082-BD9A-CC3E00274DD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2AC76D0E-2E74-40A1-90B8-A4BCCDCE6C5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4" y="335584"/>
            <a:ext cx="2448618" cy="5234187"/>
          </a:xfrm>
          <a:custGeom>
            <a:avLst/>
            <a:gdLst>
              <a:gd name="connsiteX0" fmla="*/ 0 w 2448618"/>
              <a:gd name="connsiteY0" fmla="*/ 0 h 5234187"/>
              <a:gd name="connsiteX1" fmla="*/ 2448618 w 2448618"/>
              <a:gd name="connsiteY1" fmla="*/ 0 h 5234187"/>
              <a:gd name="connsiteX2" fmla="*/ 2448618 w 2448618"/>
              <a:gd name="connsiteY2" fmla="*/ 4998597 h 5234187"/>
              <a:gd name="connsiteX3" fmla="*/ 0 w 2448618"/>
              <a:gd name="connsiteY3" fmla="*/ 5234187 h 5234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18" h="5234187">
                <a:moveTo>
                  <a:pt x="0" y="0"/>
                </a:moveTo>
                <a:lnTo>
                  <a:pt x="2448618" y="0"/>
                </a:lnTo>
                <a:lnTo>
                  <a:pt x="2448618" y="4998597"/>
                </a:lnTo>
                <a:lnTo>
                  <a:pt x="0" y="5234187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180000" tIns="360000" rIns="180000" bIns="360000">
            <a:noAutofit/>
          </a:bodyPr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699A7C70-A183-4EE4-A764-684D3950B6C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03382" y="335585"/>
            <a:ext cx="2448619" cy="4970887"/>
          </a:xfrm>
          <a:custGeom>
            <a:avLst/>
            <a:gdLst>
              <a:gd name="connsiteX0" fmla="*/ 0 w 2448619"/>
              <a:gd name="connsiteY0" fmla="*/ 0 h 4970887"/>
              <a:gd name="connsiteX1" fmla="*/ 2448619 w 2448619"/>
              <a:gd name="connsiteY1" fmla="*/ 0 h 4970887"/>
              <a:gd name="connsiteX2" fmla="*/ 2448619 w 2448619"/>
              <a:gd name="connsiteY2" fmla="*/ 4735296 h 4970887"/>
              <a:gd name="connsiteX3" fmla="*/ 0 w 2448619"/>
              <a:gd name="connsiteY3" fmla="*/ 4970887 h 4970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19" h="4970887">
                <a:moveTo>
                  <a:pt x="0" y="0"/>
                </a:moveTo>
                <a:lnTo>
                  <a:pt x="2448619" y="0"/>
                </a:lnTo>
                <a:lnTo>
                  <a:pt x="2448619" y="4735296"/>
                </a:lnTo>
                <a:lnTo>
                  <a:pt x="0" y="497088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80000" tIns="360000" rIns="18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7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9" name="Text Placeholder 57">
            <a:extLst>
              <a:ext uri="{FF2B5EF4-FFF2-40B4-BE49-F238E27FC236}">
                <a16:creationId xmlns:a16="http://schemas.microsoft.com/office/drawing/2014/main" id="{0E6FBE4D-8582-45C3-B225-A176E840E4D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6540" y="3833610"/>
            <a:ext cx="2069066" cy="1715020"/>
          </a:xfr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l="117"/>
            </a:stretch>
          </a:blipFill>
        </p:spPr>
        <p:txBody>
          <a:bodyPr anchor="ctr"/>
          <a:lstStyle>
            <a:lvl1pPr marL="0" indent="0" algn="ctr">
              <a:buNone/>
              <a:defRPr>
                <a:blipFill>
                  <a:blip r:embed="rId8"/>
                  <a:stretch>
                    <a:fillRect l="117"/>
                  </a:stretch>
                </a:blipFill>
                <a:effectLst>
                  <a:outerShdw blurRad="50800" dist="50800" dir="5400000" algn="ctr" rotWithShape="0">
                    <a:srgbClr val="000000"/>
                  </a:outerShdw>
                </a:effectLst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E292EBB7-7039-4D87-BCDC-FB6BB4FB0E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691582" y="4745837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6251894B-5D3F-C541-B52A-E62499E80655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71A3D910-AF8D-4A10-93AD-2A155C4B53D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40000" y="335585"/>
            <a:ext cx="2448618" cy="4707587"/>
          </a:xfrm>
          <a:custGeom>
            <a:avLst/>
            <a:gdLst>
              <a:gd name="connsiteX0" fmla="*/ 0 w 2448618"/>
              <a:gd name="connsiteY0" fmla="*/ 0 h 4707587"/>
              <a:gd name="connsiteX1" fmla="*/ 2448618 w 2448618"/>
              <a:gd name="connsiteY1" fmla="*/ 0 h 4707587"/>
              <a:gd name="connsiteX2" fmla="*/ 2448618 w 2448618"/>
              <a:gd name="connsiteY2" fmla="*/ 4471997 h 4707587"/>
              <a:gd name="connsiteX3" fmla="*/ 0 w 2448618"/>
              <a:gd name="connsiteY3" fmla="*/ 4707587 h 4707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18" h="4707587">
                <a:moveTo>
                  <a:pt x="0" y="0"/>
                </a:moveTo>
                <a:lnTo>
                  <a:pt x="2448618" y="0"/>
                </a:lnTo>
                <a:lnTo>
                  <a:pt x="2448618" y="4471997"/>
                </a:lnTo>
                <a:lnTo>
                  <a:pt x="0" y="4707587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180000" tIns="360000" rIns="180000" bIns="360000">
            <a:noAutofit/>
          </a:bodyPr>
          <a:lstStyle>
            <a:lvl1pPr>
              <a:buClr>
                <a:schemeClr val="tx1"/>
              </a:buClr>
              <a:defRPr spc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pc="0">
                <a:solidFill>
                  <a:schemeClr val="tx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9"/>
              </a:buBlip>
              <a:defRPr spc="0">
                <a:solidFill>
                  <a:schemeClr val="tx1"/>
                </a:solidFill>
              </a:defRPr>
            </a:lvl3pPr>
            <a:lvl4pPr>
              <a:defRPr spc="0">
                <a:solidFill>
                  <a:schemeClr val="tx1"/>
                </a:solidFill>
              </a:defRPr>
            </a:lvl4pPr>
            <a:lvl5pPr>
              <a:defRPr spc="0">
                <a:solidFill>
                  <a:schemeClr val="tx1"/>
                </a:solidFill>
              </a:defRPr>
            </a:lvl5pPr>
            <a:lvl6pPr>
              <a:defRPr spc="0">
                <a:solidFill>
                  <a:schemeClr val="tx1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54B18E07-3099-461D-AABB-46E95D25B0C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976618" y="335583"/>
            <a:ext cx="2448618" cy="4444288"/>
          </a:xfrm>
          <a:custGeom>
            <a:avLst/>
            <a:gdLst>
              <a:gd name="connsiteX0" fmla="*/ 0 w 2448618"/>
              <a:gd name="connsiteY0" fmla="*/ 0 h 4444288"/>
              <a:gd name="connsiteX1" fmla="*/ 2448618 w 2448618"/>
              <a:gd name="connsiteY1" fmla="*/ 0 h 4444288"/>
              <a:gd name="connsiteX2" fmla="*/ 2448618 w 2448618"/>
              <a:gd name="connsiteY2" fmla="*/ 4208698 h 4444288"/>
              <a:gd name="connsiteX3" fmla="*/ 0 w 2448618"/>
              <a:gd name="connsiteY3" fmla="*/ 4444288 h 4444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18" h="4444288">
                <a:moveTo>
                  <a:pt x="0" y="0"/>
                </a:moveTo>
                <a:lnTo>
                  <a:pt x="2448618" y="0"/>
                </a:lnTo>
                <a:lnTo>
                  <a:pt x="2448618" y="4208698"/>
                </a:lnTo>
                <a:lnTo>
                  <a:pt x="0" y="4444288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180000" tIns="360000" rIns="180000" bIns="360000">
            <a:noAutofit/>
          </a:bodyPr>
          <a:lstStyle>
            <a:lvl1pPr>
              <a:buClr>
                <a:schemeClr val="tx1"/>
              </a:buClr>
              <a:defRPr spc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pc="0">
                <a:solidFill>
                  <a:schemeClr val="tx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9"/>
              </a:buBlip>
              <a:defRPr spc="0">
                <a:solidFill>
                  <a:schemeClr val="tx1"/>
                </a:solidFill>
              </a:defRPr>
            </a:lvl3pPr>
            <a:lvl4pPr>
              <a:defRPr spc="0">
                <a:solidFill>
                  <a:schemeClr val="tx1"/>
                </a:solidFill>
              </a:defRPr>
            </a:lvl4pPr>
            <a:lvl5pPr>
              <a:defRPr spc="0">
                <a:solidFill>
                  <a:schemeClr val="tx1"/>
                </a:solidFill>
              </a:defRPr>
            </a:lvl5pPr>
            <a:lvl6pPr>
              <a:defRPr spc="0">
                <a:solidFill>
                  <a:schemeClr val="tx1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59966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 userDrawn="1">
          <p15:clr>
            <a:srgbClr val="F26B43"/>
          </p15:clr>
        </p15:guide>
        <p15:guide id="4" pos="3931">
          <p15:clr>
            <a:srgbClr val="F26B43"/>
          </p15:clr>
        </p15:guide>
        <p15:guide id="5" orient="horz" pos="754">
          <p15:clr>
            <a:srgbClr val="A4A3A4"/>
          </p15:clr>
        </p15:guide>
        <p15:guide id="6" orient="horz" pos="640">
          <p15:clr>
            <a:srgbClr val="A4A3A4"/>
          </p15:clr>
        </p15:guide>
        <p15:guide id="7" pos="5654" userDrawn="1">
          <p15:clr>
            <a:srgbClr val="F26B43"/>
          </p15:clr>
        </p15:guide>
        <p15:guide id="8" pos="5473" userDrawn="1">
          <p15:clr>
            <a:srgbClr val="F26B43"/>
          </p15:clr>
        </p15:guide>
        <p15:guide id="9" pos="2207" userDrawn="1">
          <p15:clr>
            <a:srgbClr val="F26B43"/>
          </p15:clr>
        </p15:guide>
        <p15:guide id="10" pos="2026" userDrawn="1">
          <p15:clr>
            <a:srgbClr val="F26B43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2 Texten und Bildplatzhalter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0179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8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063C7026-C875-4E69-BA5F-F496B8D31A7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spcAft>
                <a:spcPts val="1200"/>
              </a:spcAft>
            </a:pPr>
            <a:endParaRPr lang="de-DE" sz="2000" b="0" i="0" kern="600" spc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63">
            <a:extLst>
              <a:ext uri="{FF2B5EF4-FFF2-40B4-BE49-F238E27FC236}">
                <a16:creationId xmlns:a16="http://schemas.microsoft.com/office/drawing/2014/main" id="{004056D1-7168-4A16-801D-88B4BF20AE3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144BAB1F-8DA3-4C74-9036-E918CD77BD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3" y="1196976"/>
            <a:ext cx="5185238" cy="4372795"/>
          </a:xfrm>
          <a:custGeom>
            <a:avLst/>
            <a:gdLst>
              <a:gd name="connsiteX0" fmla="*/ 0 w 5185238"/>
              <a:gd name="connsiteY0" fmla="*/ 0 h 4372795"/>
              <a:gd name="connsiteX1" fmla="*/ 5185238 w 5185238"/>
              <a:gd name="connsiteY1" fmla="*/ 0 h 4372795"/>
              <a:gd name="connsiteX2" fmla="*/ 5185238 w 5185238"/>
              <a:gd name="connsiteY2" fmla="*/ 3873905 h 4372795"/>
              <a:gd name="connsiteX3" fmla="*/ 2431692 w 5185238"/>
              <a:gd name="connsiteY3" fmla="*/ 4138834 h 4372795"/>
              <a:gd name="connsiteX4" fmla="*/ 0 w 5185238"/>
              <a:gd name="connsiteY4" fmla="*/ 4372795 h 43727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85238" h="4372795">
                <a:moveTo>
                  <a:pt x="0" y="0"/>
                </a:moveTo>
                <a:lnTo>
                  <a:pt x="5185238" y="0"/>
                </a:lnTo>
                <a:lnTo>
                  <a:pt x="5185238" y="3873905"/>
                </a:lnTo>
                <a:lnTo>
                  <a:pt x="2431692" y="4138834"/>
                </a:lnTo>
                <a:lnTo>
                  <a:pt x="0" y="4372795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360000" tIns="360000" rIns="360000" bIns="360000">
            <a:noAutofit/>
          </a:bodyPr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DB6ADC81-7D97-467A-B7E6-238D218159A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40000" y="1196975"/>
            <a:ext cx="5185236" cy="3846197"/>
          </a:xfrm>
          <a:custGeom>
            <a:avLst/>
            <a:gdLst>
              <a:gd name="connsiteX0" fmla="*/ 0 w 5185236"/>
              <a:gd name="connsiteY0" fmla="*/ 0 h 3846197"/>
              <a:gd name="connsiteX1" fmla="*/ 5185236 w 5185236"/>
              <a:gd name="connsiteY1" fmla="*/ 0 h 3846197"/>
              <a:gd name="connsiteX2" fmla="*/ 5185236 w 5185236"/>
              <a:gd name="connsiteY2" fmla="*/ 3347307 h 3846197"/>
              <a:gd name="connsiteX3" fmla="*/ 0 w 5185236"/>
              <a:gd name="connsiteY3" fmla="*/ 3846197 h 3846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85236" h="3846197">
                <a:moveTo>
                  <a:pt x="0" y="0"/>
                </a:moveTo>
                <a:lnTo>
                  <a:pt x="5185236" y="0"/>
                </a:lnTo>
                <a:lnTo>
                  <a:pt x="5185236" y="3347307"/>
                </a:lnTo>
                <a:lnTo>
                  <a:pt x="0" y="384619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36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8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9" name="Text Placeholder 57">
            <a:extLst>
              <a:ext uri="{FF2B5EF4-FFF2-40B4-BE49-F238E27FC236}">
                <a16:creationId xmlns:a16="http://schemas.microsoft.com/office/drawing/2014/main" id="{0E6FBE4D-8582-45C3-B225-A176E840E4D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26361" y="3558602"/>
            <a:ext cx="2069066" cy="1715020"/>
          </a:xfrm>
          <a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l="117"/>
            </a:stretch>
          </a:blipFill>
        </p:spPr>
        <p:txBody>
          <a:bodyPr anchor="ctr"/>
          <a:lstStyle>
            <a:lvl1pPr marL="0" indent="0" algn="ctr">
              <a:buNone/>
              <a:defRPr>
                <a:blipFill>
                  <a:blip r:embed="rId9"/>
                  <a:stretch>
                    <a:fillRect l="117"/>
                  </a:stretch>
                </a:blipFill>
                <a:effectLst>
                  <a:outerShdw blurRad="50800" dist="50800" dir="5400000" algn="ctr" rotWithShape="0">
                    <a:srgbClr val="000000"/>
                  </a:outerShdw>
                </a:effectLst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E292EBB7-7039-4D87-BCDC-FB6BB4FB0E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28201" y="4484284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6251894B-5D3F-C541-B52A-E62499E80655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C8A9898-6DBB-4A1B-9BF7-F1646A33EEF4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02D993-7EF4-4273-AFC6-CA85D55A1C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5955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26B43"/>
          </p15:clr>
        </p15:guide>
        <p15:guide id="4" pos="3931">
          <p15:clr>
            <a:srgbClr val="F26B43"/>
          </p15:clr>
        </p15:guide>
        <p15:guide id="5" orient="horz" pos="754">
          <p15:clr>
            <a:srgbClr val="A4A3A4"/>
          </p15:clr>
        </p15:guide>
        <p15:guide id="6" orient="horz" pos="640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3 Texten und Bildplatzhalter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0854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2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8C537BA-F270-492E-9842-0197B8523B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spcAft>
                <a:spcPts val="1200"/>
              </a:spcAft>
            </a:pPr>
            <a:endParaRPr lang="de-DE" sz="2000" b="0" i="0" kern="600" spc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63">
            <a:extLst>
              <a:ext uri="{FF2B5EF4-FFF2-40B4-BE49-F238E27FC236}">
                <a16:creationId xmlns:a16="http://schemas.microsoft.com/office/drawing/2014/main" id="{004056D1-7168-4A16-801D-88B4BF20AE3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6251894B-5D3F-C541-B52A-E62499E80655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C8A9898-6DBB-4A1B-9BF7-F1646A33EEF4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D6AB30F3-FA02-447B-B929-87AE828698B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4" y="1196975"/>
            <a:ext cx="3349484" cy="4369437"/>
          </a:xfrm>
          <a:custGeom>
            <a:avLst/>
            <a:gdLst>
              <a:gd name="connsiteX0" fmla="*/ 0 w 3349484"/>
              <a:gd name="connsiteY0" fmla="*/ 0 h 4369437"/>
              <a:gd name="connsiteX1" fmla="*/ 3349484 w 3349484"/>
              <a:gd name="connsiteY1" fmla="*/ 0 h 4369437"/>
              <a:gd name="connsiteX2" fmla="*/ 3349484 w 3349484"/>
              <a:gd name="connsiteY2" fmla="*/ 4045937 h 4369437"/>
              <a:gd name="connsiteX3" fmla="*/ 0 w 3349484"/>
              <a:gd name="connsiteY3" fmla="*/ 4369437 h 4369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9484" h="4369437">
                <a:moveTo>
                  <a:pt x="0" y="0"/>
                </a:moveTo>
                <a:lnTo>
                  <a:pt x="3349484" y="0"/>
                </a:lnTo>
                <a:lnTo>
                  <a:pt x="3349484" y="4045937"/>
                </a:lnTo>
                <a:lnTo>
                  <a:pt x="0" y="4369437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360000" tIns="360000" rIns="360000" bIns="360000">
            <a:noAutofit/>
          </a:bodyPr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390BCA02-29C1-410D-99F8-06A6E3AC49E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03726" y="1196975"/>
            <a:ext cx="3384548" cy="4018172"/>
          </a:xfrm>
          <a:custGeom>
            <a:avLst/>
            <a:gdLst>
              <a:gd name="connsiteX0" fmla="*/ 0 w 3384548"/>
              <a:gd name="connsiteY0" fmla="*/ 0 h 4018172"/>
              <a:gd name="connsiteX1" fmla="*/ 3384548 w 3384548"/>
              <a:gd name="connsiteY1" fmla="*/ 0 h 4018172"/>
              <a:gd name="connsiteX2" fmla="*/ 3384548 w 3384548"/>
              <a:gd name="connsiteY2" fmla="*/ 3691286 h 4018172"/>
              <a:gd name="connsiteX3" fmla="*/ 0 w 3384548"/>
              <a:gd name="connsiteY3" fmla="*/ 4018172 h 4018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84548" h="4018172">
                <a:moveTo>
                  <a:pt x="0" y="0"/>
                </a:moveTo>
                <a:lnTo>
                  <a:pt x="3384548" y="0"/>
                </a:lnTo>
                <a:lnTo>
                  <a:pt x="3384548" y="3691286"/>
                </a:lnTo>
                <a:lnTo>
                  <a:pt x="0" y="4018172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36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8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0" name="Text Placeholder 57">
            <a:extLst>
              <a:ext uri="{FF2B5EF4-FFF2-40B4-BE49-F238E27FC236}">
                <a16:creationId xmlns:a16="http://schemas.microsoft.com/office/drawing/2014/main" id="{B2BA0479-354B-4453-9BD9-3B75CA9E75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4501" y="3763964"/>
            <a:ext cx="2069066" cy="1715020"/>
          </a:xfrm>
          <a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l="117"/>
            </a:stretch>
          </a:blipFill>
        </p:spPr>
        <p:txBody>
          <a:bodyPr anchor="ctr"/>
          <a:lstStyle>
            <a:lvl1pPr marL="0" indent="0" algn="ctr">
              <a:buNone/>
              <a:defRPr>
                <a:blipFill>
                  <a:blip r:embed="rId9"/>
                  <a:stretch>
                    <a:fillRect l="117"/>
                  </a:stretch>
                </a:blipFill>
                <a:effectLst>
                  <a:outerShdw blurRad="50800" dist="50800" dir="5400000" algn="ctr" rotWithShape="0">
                    <a:srgbClr val="000000"/>
                  </a:outerShdw>
                </a:effectLst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21" name="Text Placeholder 61">
            <a:extLst>
              <a:ext uri="{FF2B5EF4-FFF2-40B4-BE49-F238E27FC236}">
                <a16:creationId xmlns:a16="http://schemas.microsoft.com/office/drawing/2014/main" id="{F1711DD1-B6B3-4336-9361-47CF8788980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93063" y="4715053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F548BEAD-49B1-4AFC-9311-CB049C5F0EA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75751" y="1196975"/>
            <a:ext cx="3349487" cy="3663520"/>
          </a:xfrm>
          <a:custGeom>
            <a:avLst/>
            <a:gdLst>
              <a:gd name="connsiteX0" fmla="*/ 0 w 3349487"/>
              <a:gd name="connsiteY0" fmla="*/ 0 h 3663520"/>
              <a:gd name="connsiteX1" fmla="*/ 3349487 w 3349487"/>
              <a:gd name="connsiteY1" fmla="*/ 0 h 3663520"/>
              <a:gd name="connsiteX2" fmla="*/ 3349487 w 3349487"/>
              <a:gd name="connsiteY2" fmla="*/ 3340021 h 3663520"/>
              <a:gd name="connsiteX3" fmla="*/ 0 w 3349487"/>
              <a:gd name="connsiteY3" fmla="*/ 3663520 h 366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9487" h="3663520">
                <a:moveTo>
                  <a:pt x="0" y="0"/>
                </a:moveTo>
                <a:lnTo>
                  <a:pt x="3349487" y="0"/>
                </a:lnTo>
                <a:lnTo>
                  <a:pt x="3349487" y="3340021"/>
                </a:lnTo>
                <a:lnTo>
                  <a:pt x="0" y="366352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36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FontTx/>
              <a:buBlip>
                <a:blip r:embed="rId10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64A26B-C22C-4086-8C39-33D2956F5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558049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26B43"/>
          </p15:clr>
        </p15:guide>
        <p15:guide id="4" pos="3931">
          <p15:clr>
            <a:srgbClr val="F26B43"/>
          </p15:clr>
        </p15:guide>
        <p15:guide id="5" orient="horz" pos="754">
          <p15:clr>
            <a:srgbClr val="A4A3A4"/>
          </p15:clr>
        </p15:guide>
        <p15:guide id="6" orient="horz" pos="640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4 Texten und Bildplatzhalter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8979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6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5843A7F5-0182-4E82-AFB1-CC53CC8C17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spcAft>
                <a:spcPts val="1200"/>
              </a:spcAft>
            </a:pPr>
            <a:endParaRPr lang="de-DE" sz="2000" b="0" i="0" kern="600" spc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63">
            <a:extLst>
              <a:ext uri="{FF2B5EF4-FFF2-40B4-BE49-F238E27FC236}">
                <a16:creationId xmlns:a16="http://schemas.microsoft.com/office/drawing/2014/main" id="{004056D1-7168-4A16-801D-88B4BF20AE3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6251894B-5D3F-C541-B52A-E62499E80655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C8A9898-6DBB-4A1B-9BF7-F1646A33EEF4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660C2763-BC88-455C-AAAD-7B895AF9C3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4" y="1196975"/>
            <a:ext cx="2448618" cy="4372796"/>
          </a:xfrm>
          <a:custGeom>
            <a:avLst/>
            <a:gdLst>
              <a:gd name="connsiteX0" fmla="*/ 0 w 2448618"/>
              <a:gd name="connsiteY0" fmla="*/ 0 h 4372796"/>
              <a:gd name="connsiteX1" fmla="*/ 2448618 w 2448618"/>
              <a:gd name="connsiteY1" fmla="*/ 0 h 4372796"/>
              <a:gd name="connsiteX2" fmla="*/ 2448618 w 2448618"/>
              <a:gd name="connsiteY2" fmla="*/ 4137206 h 4372796"/>
              <a:gd name="connsiteX3" fmla="*/ 0 w 2448618"/>
              <a:gd name="connsiteY3" fmla="*/ 4372796 h 4372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18" h="4372796">
                <a:moveTo>
                  <a:pt x="0" y="0"/>
                </a:moveTo>
                <a:lnTo>
                  <a:pt x="2448618" y="0"/>
                </a:lnTo>
                <a:lnTo>
                  <a:pt x="2448618" y="4137206"/>
                </a:lnTo>
                <a:lnTo>
                  <a:pt x="0" y="4372796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180000" tIns="360000" rIns="180000" bIns="360000">
            <a:noAutofit/>
          </a:bodyPr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A9140D73-F6BF-406C-9D0F-2CFB8641E10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03381" y="1196975"/>
            <a:ext cx="2448620" cy="4109497"/>
          </a:xfrm>
          <a:custGeom>
            <a:avLst/>
            <a:gdLst>
              <a:gd name="connsiteX0" fmla="*/ 0 w 2448620"/>
              <a:gd name="connsiteY0" fmla="*/ 0 h 4109497"/>
              <a:gd name="connsiteX1" fmla="*/ 2448620 w 2448620"/>
              <a:gd name="connsiteY1" fmla="*/ 0 h 4109497"/>
              <a:gd name="connsiteX2" fmla="*/ 2448620 w 2448620"/>
              <a:gd name="connsiteY2" fmla="*/ 3873906 h 4109497"/>
              <a:gd name="connsiteX3" fmla="*/ 0 w 2448620"/>
              <a:gd name="connsiteY3" fmla="*/ 4109497 h 4109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20" h="4109497">
                <a:moveTo>
                  <a:pt x="0" y="0"/>
                </a:moveTo>
                <a:lnTo>
                  <a:pt x="2448620" y="0"/>
                </a:lnTo>
                <a:lnTo>
                  <a:pt x="2448620" y="3873906"/>
                </a:lnTo>
                <a:lnTo>
                  <a:pt x="0" y="410949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80000" tIns="360000" rIns="18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8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0" name="Text Placeholder 57">
            <a:extLst>
              <a:ext uri="{FF2B5EF4-FFF2-40B4-BE49-F238E27FC236}">
                <a16:creationId xmlns:a16="http://schemas.microsoft.com/office/drawing/2014/main" id="{586CA799-B057-44C7-99C4-6F70BBC17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6540" y="3833610"/>
            <a:ext cx="2069066" cy="1715020"/>
          </a:xfrm>
          <a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l="117"/>
            </a:stretch>
          </a:blipFill>
        </p:spPr>
        <p:txBody>
          <a:bodyPr anchor="ctr"/>
          <a:lstStyle>
            <a:lvl1pPr marL="0" indent="0" algn="ctr">
              <a:buNone/>
              <a:defRPr>
                <a:blipFill>
                  <a:blip r:embed="rId9"/>
                  <a:stretch>
                    <a:fillRect l="117"/>
                  </a:stretch>
                </a:blipFill>
                <a:effectLst>
                  <a:outerShdw blurRad="50800" dist="50800" dir="5400000" algn="ctr" rotWithShape="0">
                    <a:srgbClr val="000000"/>
                  </a:outerShdw>
                </a:effectLst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21" name="Text Placeholder 61">
            <a:extLst>
              <a:ext uri="{FF2B5EF4-FFF2-40B4-BE49-F238E27FC236}">
                <a16:creationId xmlns:a16="http://schemas.microsoft.com/office/drawing/2014/main" id="{E262FA7D-EE7C-450D-8F09-CC7E101E4B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691582" y="4745837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C5F7EFC0-BF14-455E-A781-C964300B7AF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40000" y="1196975"/>
            <a:ext cx="2448618" cy="3846197"/>
          </a:xfrm>
          <a:custGeom>
            <a:avLst/>
            <a:gdLst>
              <a:gd name="connsiteX0" fmla="*/ 0 w 2448618"/>
              <a:gd name="connsiteY0" fmla="*/ 0 h 3846197"/>
              <a:gd name="connsiteX1" fmla="*/ 2448618 w 2448618"/>
              <a:gd name="connsiteY1" fmla="*/ 0 h 3846197"/>
              <a:gd name="connsiteX2" fmla="*/ 2448618 w 2448618"/>
              <a:gd name="connsiteY2" fmla="*/ 3610607 h 3846197"/>
              <a:gd name="connsiteX3" fmla="*/ 0 w 2448618"/>
              <a:gd name="connsiteY3" fmla="*/ 3846197 h 3846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18" h="3846197">
                <a:moveTo>
                  <a:pt x="0" y="0"/>
                </a:moveTo>
                <a:lnTo>
                  <a:pt x="2448618" y="0"/>
                </a:lnTo>
                <a:lnTo>
                  <a:pt x="2448618" y="3610607"/>
                </a:lnTo>
                <a:lnTo>
                  <a:pt x="0" y="3846197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180000" tIns="360000" rIns="180000" bIns="360000">
            <a:noAutofit/>
          </a:bodyPr>
          <a:lstStyle>
            <a:lvl1pPr>
              <a:buClr>
                <a:schemeClr val="tx1"/>
              </a:buClr>
              <a:defRPr spc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pc="0">
                <a:solidFill>
                  <a:schemeClr val="tx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10"/>
              </a:buBlip>
              <a:defRPr spc="0">
                <a:solidFill>
                  <a:schemeClr val="tx1"/>
                </a:solidFill>
              </a:defRPr>
            </a:lvl3pPr>
            <a:lvl4pPr>
              <a:defRPr spc="0">
                <a:solidFill>
                  <a:schemeClr val="tx1"/>
                </a:solidFill>
              </a:defRPr>
            </a:lvl4pPr>
            <a:lvl5pPr>
              <a:defRPr spc="0">
                <a:solidFill>
                  <a:schemeClr val="tx1"/>
                </a:solidFill>
              </a:defRPr>
            </a:lvl5pPr>
            <a:lvl6pPr>
              <a:defRPr spc="0">
                <a:solidFill>
                  <a:schemeClr val="tx1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BA3D35E0-AEA6-4F9B-BC48-9FA4EB495B4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976618" y="1196975"/>
            <a:ext cx="2448618" cy="3582896"/>
          </a:xfrm>
          <a:custGeom>
            <a:avLst/>
            <a:gdLst>
              <a:gd name="connsiteX0" fmla="*/ 0 w 2448618"/>
              <a:gd name="connsiteY0" fmla="*/ 0 h 3582896"/>
              <a:gd name="connsiteX1" fmla="*/ 2448618 w 2448618"/>
              <a:gd name="connsiteY1" fmla="*/ 0 h 3582896"/>
              <a:gd name="connsiteX2" fmla="*/ 2448618 w 2448618"/>
              <a:gd name="connsiteY2" fmla="*/ 3347306 h 3582896"/>
              <a:gd name="connsiteX3" fmla="*/ 0 w 2448618"/>
              <a:gd name="connsiteY3" fmla="*/ 3582896 h 3582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18" h="3582896">
                <a:moveTo>
                  <a:pt x="0" y="0"/>
                </a:moveTo>
                <a:lnTo>
                  <a:pt x="2448618" y="0"/>
                </a:lnTo>
                <a:lnTo>
                  <a:pt x="2448618" y="3347306"/>
                </a:lnTo>
                <a:lnTo>
                  <a:pt x="0" y="3582896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180000" tIns="360000" rIns="180000" bIns="360000">
            <a:noAutofit/>
          </a:bodyPr>
          <a:lstStyle>
            <a:lvl1pPr>
              <a:buClr>
                <a:schemeClr val="tx1"/>
              </a:buClr>
              <a:defRPr spc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pc="0">
                <a:solidFill>
                  <a:schemeClr val="tx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10"/>
              </a:buBlip>
              <a:defRPr spc="0">
                <a:solidFill>
                  <a:schemeClr val="tx1"/>
                </a:solidFill>
              </a:defRPr>
            </a:lvl3pPr>
            <a:lvl4pPr>
              <a:defRPr spc="0">
                <a:solidFill>
                  <a:schemeClr val="tx1"/>
                </a:solidFill>
              </a:defRPr>
            </a:lvl4pPr>
            <a:lvl5pPr>
              <a:defRPr spc="0">
                <a:solidFill>
                  <a:schemeClr val="tx1"/>
                </a:solidFill>
              </a:defRPr>
            </a:lvl5pPr>
            <a:lvl6pPr>
              <a:defRPr spc="0">
                <a:solidFill>
                  <a:schemeClr val="tx1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665825-B006-4439-895F-85E2862B5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13112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26B43"/>
          </p15:clr>
        </p15:guide>
        <p15:guide id="4" pos="3931">
          <p15:clr>
            <a:srgbClr val="F26B43"/>
          </p15:clr>
        </p15:guide>
        <p15:guide id="5" orient="horz" pos="754">
          <p15:clr>
            <a:srgbClr val="A4A3A4"/>
          </p15:clr>
        </p15:guide>
        <p15:guide id="6" orient="horz" pos="640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 // Titel mit 4 Texten und Bilplatzhalter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989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625D8821-8842-4553-8668-637C54FDB7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03725" y="1016000"/>
            <a:ext cx="3384550" cy="4133637"/>
          </a:xfrm>
        </p:spPr>
        <p:txBody>
          <a:bodyPr/>
          <a:lstStyle>
            <a:lvl1pPr>
              <a:defRPr spc="0"/>
            </a:lvl1pPr>
            <a:lvl2pPr>
              <a:defRPr spc="0"/>
            </a:lvl2pPr>
            <a:lvl3pPr>
              <a:defRPr spc="0"/>
            </a:lvl3pPr>
            <a:lvl4pPr>
              <a:defRPr spc="0"/>
            </a:lvl4pPr>
            <a:lvl5pPr>
              <a:defRPr spc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Freihandform: Form 27">
            <a:extLst>
              <a:ext uri="{FF2B5EF4-FFF2-40B4-BE49-F238E27FC236}">
                <a16:creationId xmlns:a16="http://schemas.microsoft.com/office/drawing/2014/main" id="{1ED9DF6D-8878-44AC-A12C-893F4576467C}"/>
              </a:ext>
            </a:extLst>
          </p:cNvPr>
          <p:cNvSpPr/>
          <p:nvPr userDrawn="1"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21CE8BDA-8958-48E7-8115-79B458038B4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4D13CA-3680-4529-B6B5-9F0A749058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A88AD8-3CFE-481A-9582-168235F0B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CD9C935-DFD8-4C1F-A4AF-B70F53B25DFD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15" name="Freeform 40">
              <a:extLst>
                <a:ext uri="{FF2B5EF4-FFF2-40B4-BE49-F238E27FC236}">
                  <a16:creationId xmlns:a16="http://schemas.microsoft.com/office/drawing/2014/main" id="{589340FF-7D32-47A8-8449-1C2A489DA5B3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tx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41">
              <a:extLst>
                <a:ext uri="{FF2B5EF4-FFF2-40B4-BE49-F238E27FC236}">
                  <a16:creationId xmlns:a16="http://schemas.microsoft.com/office/drawing/2014/main" id="{4F07A579-28CA-49F5-9EEC-EB5412BEBA56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226C4E4-A2B3-4F91-ACF4-1386A1141A75}"/>
              </a:ext>
            </a:extLst>
          </p:cNvPr>
          <p:cNvGrpSpPr/>
          <p:nvPr/>
        </p:nvGrpSpPr>
        <p:grpSpPr>
          <a:xfrm>
            <a:off x="0" y="1009784"/>
            <a:ext cx="4130243" cy="2397344"/>
            <a:chOff x="-1" y="825214"/>
            <a:chExt cx="3438312" cy="1995722"/>
          </a:xfrm>
          <a:solidFill>
            <a:schemeClr val="accent1"/>
          </a:solidFill>
        </p:grpSpPr>
        <p:sp>
          <p:nvSpPr>
            <p:cNvPr id="20" name="Freeform 1">
              <a:extLst>
                <a:ext uri="{FF2B5EF4-FFF2-40B4-BE49-F238E27FC236}">
                  <a16:creationId xmlns:a16="http://schemas.microsoft.com/office/drawing/2014/main" id="{85B15F81-C7C5-4BF1-8B09-16557ED89E46}"/>
                </a:ext>
              </a:extLst>
            </p:cNvPr>
            <p:cNvSpPr/>
            <p:nvPr/>
          </p:nvSpPr>
          <p:spPr>
            <a:xfrm rot="10800000">
              <a:off x="-1" y="825214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B52C9D7B-3DEC-4F20-A960-0AB2B7912A0C}"/>
                </a:ext>
              </a:extLst>
            </p:cNvPr>
            <p:cNvSpPr/>
            <p:nvPr/>
          </p:nvSpPr>
          <p:spPr>
            <a:xfrm rot="10800000">
              <a:off x="-1" y="969511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9A017E0-97E1-40BF-A118-EF8F27D51FAB}"/>
              </a:ext>
            </a:extLst>
          </p:cNvPr>
          <p:cNvGrpSpPr/>
          <p:nvPr/>
        </p:nvGrpSpPr>
        <p:grpSpPr>
          <a:xfrm>
            <a:off x="0" y="3281931"/>
            <a:ext cx="4130243" cy="2397344"/>
            <a:chOff x="-1" y="825214"/>
            <a:chExt cx="3438312" cy="1995722"/>
          </a:xfrm>
          <a:solidFill>
            <a:schemeClr val="accent1"/>
          </a:solidFill>
        </p:grpSpPr>
        <p:sp>
          <p:nvSpPr>
            <p:cNvPr id="29" name="Freeform 24">
              <a:extLst>
                <a:ext uri="{FF2B5EF4-FFF2-40B4-BE49-F238E27FC236}">
                  <a16:creationId xmlns:a16="http://schemas.microsoft.com/office/drawing/2014/main" id="{42A5AD33-28B5-4788-AB7B-7039FE3889C2}"/>
                </a:ext>
              </a:extLst>
            </p:cNvPr>
            <p:cNvSpPr/>
            <p:nvPr/>
          </p:nvSpPr>
          <p:spPr>
            <a:xfrm rot="10800000">
              <a:off x="-1" y="825214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25">
              <a:extLst>
                <a:ext uri="{FF2B5EF4-FFF2-40B4-BE49-F238E27FC236}">
                  <a16:creationId xmlns:a16="http://schemas.microsoft.com/office/drawing/2014/main" id="{B2621DED-4F6C-4FC0-80E4-5B670F3B1177}"/>
                </a:ext>
              </a:extLst>
            </p:cNvPr>
            <p:cNvSpPr/>
            <p:nvPr/>
          </p:nvSpPr>
          <p:spPr>
            <a:xfrm rot="10800000">
              <a:off x="-1" y="969511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2EEF72E3-984A-4E1D-B3E5-A8C8F728969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89468" y="1016000"/>
            <a:ext cx="3335770" cy="3655357"/>
          </a:xfrm>
        </p:spPr>
        <p:txBody>
          <a:bodyPr/>
          <a:lstStyle>
            <a:lvl1pPr>
              <a:defRPr spc="0"/>
            </a:lvl1pPr>
            <a:lvl2pPr>
              <a:defRPr spc="0"/>
            </a:lvl2pPr>
            <a:lvl3pPr>
              <a:defRPr spc="0"/>
            </a:lvl3pPr>
            <a:lvl4pPr>
              <a:defRPr spc="0"/>
            </a:lvl4pPr>
            <a:lvl5pPr>
              <a:defRPr spc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175DEA8E-1BB4-4543-A778-82112E437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2768" y="1481408"/>
            <a:ext cx="3289360" cy="1671470"/>
          </a:xfrm>
        </p:spPr>
        <p:txBody>
          <a:bodyPr anchor="ctr">
            <a:noAutofit/>
          </a:bodyPr>
          <a:lstStyle>
            <a:lvl1pPr marL="0" indent="0">
              <a:buNone/>
              <a:defRPr sz="1200" spc="0">
                <a:solidFill>
                  <a:schemeClr val="bg1"/>
                </a:solidFill>
              </a:defRPr>
            </a:lvl1pPr>
            <a:lvl2pPr marL="358775" indent="0">
              <a:buNone/>
              <a:defRPr sz="1200"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8" name="Text Placeholder 34">
            <a:extLst>
              <a:ext uri="{FF2B5EF4-FFF2-40B4-BE49-F238E27FC236}">
                <a16:creationId xmlns:a16="http://schemas.microsoft.com/office/drawing/2014/main" id="{E6C97D9E-74F8-4B39-BB82-1BCFEB4908C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2768" y="3760730"/>
            <a:ext cx="3289360" cy="1671470"/>
          </a:xfrm>
        </p:spPr>
        <p:txBody>
          <a:bodyPr anchor="ctr">
            <a:noAutofit/>
          </a:bodyPr>
          <a:lstStyle>
            <a:lvl1pPr marL="0" indent="0">
              <a:buNone/>
              <a:defRPr sz="1200" spc="0">
                <a:solidFill>
                  <a:schemeClr val="bg1"/>
                </a:solidFill>
              </a:defRPr>
            </a:lvl1pPr>
            <a:lvl2pPr marL="358775" indent="0">
              <a:buNone/>
              <a:defRPr sz="1200"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9" name="Text Placeholder 61">
            <a:extLst>
              <a:ext uri="{FF2B5EF4-FFF2-40B4-BE49-F238E27FC236}">
                <a16:creationId xmlns:a16="http://schemas.microsoft.com/office/drawing/2014/main" id="{7E867A1C-F2D3-4594-962F-3D4EDD6E5E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64262" y="2738352"/>
            <a:ext cx="1105200" cy="1105200"/>
          </a:xfrm>
          <a:prstGeom prst="ellipse">
            <a:avLst/>
          </a:prstGeom>
          <a:solidFill>
            <a:srgbClr val="FFC000"/>
          </a:solidFill>
        </p:spPr>
        <p:txBody>
          <a:bodyPr lIns="36000" tIns="36000" rIns="36000" bIns="36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52325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 userDrawn="1">
          <p15:clr>
            <a:srgbClr val="F26B43"/>
          </p15:clr>
        </p15:guide>
        <p15:guide id="2" orient="horz" pos="731" userDrawn="1">
          <p15:clr>
            <a:srgbClr val="FFFFFF"/>
          </p15:clr>
        </p15:guide>
        <p15:guide id="3" orient="horz" pos="210" userDrawn="1">
          <p15:clr>
            <a:srgbClr val="A4A3A4"/>
          </p15:clr>
        </p15:guide>
        <p15:guide id="4" pos="2774" userDrawn="1">
          <p15:clr>
            <a:srgbClr val="F26B43"/>
          </p15:clr>
        </p15:guide>
        <p15:guide id="5" pos="2389" userDrawn="1">
          <p15:clr>
            <a:srgbClr val="F26B43"/>
          </p15:clr>
        </p15:guide>
        <p15:guide id="6" pos="279" userDrawn="1">
          <p15:clr>
            <a:srgbClr val="F26B43"/>
          </p15:clr>
        </p15:guide>
        <p15:guide id="7" pos="4906" userDrawn="1">
          <p15:clr>
            <a:srgbClr val="F26B43"/>
          </p15:clr>
        </p15:guide>
        <p15:guide id="8" pos="5087" userDrawn="1">
          <p15:clr>
            <a:srgbClr val="F26B43"/>
          </p15:clr>
        </p15:guide>
        <p15:guide id="9" orient="horz" pos="1185" userDrawn="1">
          <p15:clr>
            <a:srgbClr val="F26B43"/>
          </p15:clr>
        </p15:guide>
        <p15:guide id="10" pos="483" userDrawn="1">
          <p15:clr>
            <a:srgbClr val="A4A3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WARZ // Titel mit 4 Texten und Bilplatzhalter (unten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8851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53645AC-2DA8-4EF2-BE2D-AC365ED53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825F47CB-5D49-4D48-90E7-17EFE25C6DD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625D8821-8842-4553-8668-637C54FDB7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03725" y="1038360"/>
            <a:ext cx="3384550" cy="4139853"/>
          </a:xfrm>
        </p:spPr>
        <p:txBody>
          <a:bodyPr/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Freihandform: Form 27">
            <a:extLst>
              <a:ext uri="{FF2B5EF4-FFF2-40B4-BE49-F238E27FC236}">
                <a16:creationId xmlns:a16="http://schemas.microsoft.com/office/drawing/2014/main" id="{1ED9DF6D-8878-44AC-A12C-893F4576467C}"/>
              </a:ext>
            </a:extLst>
          </p:cNvPr>
          <p:cNvSpPr/>
          <p:nvPr userDrawn="1"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4D13CA-3680-4529-B6B5-9F0A749058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A88AD8-3CFE-481A-9582-168235F0B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CD9C935-DFD8-4C1F-A4AF-B70F53B25DFD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15" name="Freeform 40">
              <a:extLst>
                <a:ext uri="{FF2B5EF4-FFF2-40B4-BE49-F238E27FC236}">
                  <a16:creationId xmlns:a16="http://schemas.microsoft.com/office/drawing/2014/main" id="{589340FF-7D32-47A8-8449-1C2A489DA5B3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tx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41">
              <a:extLst>
                <a:ext uri="{FF2B5EF4-FFF2-40B4-BE49-F238E27FC236}">
                  <a16:creationId xmlns:a16="http://schemas.microsoft.com/office/drawing/2014/main" id="{4F07A579-28CA-49F5-9EEC-EB5412BEBA56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226C4E4-A2B3-4F91-ACF4-1386A1141A75}"/>
              </a:ext>
            </a:extLst>
          </p:cNvPr>
          <p:cNvGrpSpPr/>
          <p:nvPr/>
        </p:nvGrpSpPr>
        <p:grpSpPr>
          <a:xfrm>
            <a:off x="0" y="1009784"/>
            <a:ext cx="4130243" cy="2397344"/>
            <a:chOff x="-1" y="825214"/>
            <a:chExt cx="3438312" cy="1995722"/>
          </a:xfrm>
          <a:solidFill>
            <a:schemeClr val="accent1"/>
          </a:solidFill>
        </p:grpSpPr>
        <p:sp>
          <p:nvSpPr>
            <p:cNvPr id="20" name="Freeform 1">
              <a:extLst>
                <a:ext uri="{FF2B5EF4-FFF2-40B4-BE49-F238E27FC236}">
                  <a16:creationId xmlns:a16="http://schemas.microsoft.com/office/drawing/2014/main" id="{85B15F81-C7C5-4BF1-8B09-16557ED89E46}"/>
                </a:ext>
              </a:extLst>
            </p:cNvPr>
            <p:cNvSpPr/>
            <p:nvPr/>
          </p:nvSpPr>
          <p:spPr>
            <a:xfrm rot="10800000">
              <a:off x="-1" y="825214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B52C9D7B-3DEC-4F20-A960-0AB2B7912A0C}"/>
                </a:ext>
              </a:extLst>
            </p:cNvPr>
            <p:cNvSpPr/>
            <p:nvPr/>
          </p:nvSpPr>
          <p:spPr>
            <a:xfrm rot="10800000">
              <a:off x="-1" y="969511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9A017E0-97E1-40BF-A118-EF8F27D51FAB}"/>
              </a:ext>
            </a:extLst>
          </p:cNvPr>
          <p:cNvGrpSpPr/>
          <p:nvPr/>
        </p:nvGrpSpPr>
        <p:grpSpPr>
          <a:xfrm>
            <a:off x="0" y="3281931"/>
            <a:ext cx="4130243" cy="2397344"/>
            <a:chOff x="-1" y="825214"/>
            <a:chExt cx="3438312" cy="1995722"/>
          </a:xfrm>
          <a:solidFill>
            <a:schemeClr val="accent1"/>
          </a:solidFill>
        </p:grpSpPr>
        <p:sp>
          <p:nvSpPr>
            <p:cNvPr id="29" name="Freeform 24">
              <a:extLst>
                <a:ext uri="{FF2B5EF4-FFF2-40B4-BE49-F238E27FC236}">
                  <a16:creationId xmlns:a16="http://schemas.microsoft.com/office/drawing/2014/main" id="{42A5AD33-28B5-4788-AB7B-7039FE3889C2}"/>
                </a:ext>
              </a:extLst>
            </p:cNvPr>
            <p:cNvSpPr/>
            <p:nvPr/>
          </p:nvSpPr>
          <p:spPr>
            <a:xfrm rot="10800000">
              <a:off x="-1" y="825214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25">
              <a:extLst>
                <a:ext uri="{FF2B5EF4-FFF2-40B4-BE49-F238E27FC236}">
                  <a16:creationId xmlns:a16="http://schemas.microsoft.com/office/drawing/2014/main" id="{B2621DED-4F6C-4FC0-80E4-5B670F3B1177}"/>
                </a:ext>
              </a:extLst>
            </p:cNvPr>
            <p:cNvSpPr/>
            <p:nvPr/>
          </p:nvSpPr>
          <p:spPr>
            <a:xfrm rot="10800000">
              <a:off x="-1" y="969511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2EEF72E3-984A-4E1D-B3E5-A8C8F728969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89468" y="1038360"/>
            <a:ext cx="3335770" cy="3660853"/>
          </a:xfrm>
        </p:spPr>
        <p:txBody>
          <a:bodyPr/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175DEA8E-1BB4-4543-A778-82112E437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2768" y="1481408"/>
            <a:ext cx="3289360" cy="1671470"/>
          </a:xfrm>
        </p:spPr>
        <p:txBody>
          <a:bodyPr anchor="ctr">
            <a:noAutofit/>
          </a:bodyPr>
          <a:lstStyle>
            <a:lvl1pPr marL="0" indent="0">
              <a:buNone/>
              <a:defRPr sz="1200" spc="0">
                <a:solidFill>
                  <a:schemeClr val="bg1"/>
                </a:solidFill>
              </a:defRPr>
            </a:lvl1pPr>
            <a:lvl2pPr marL="358775" indent="0">
              <a:buNone/>
              <a:defRPr sz="1200"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8" name="Text Placeholder 34">
            <a:extLst>
              <a:ext uri="{FF2B5EF4-FFF2-40B4-BE49-F238E27FC236}">
                <a16:creationId xmlns:a16="http://schemas.microsoft.com/office/drawing/2014/main" id="{E6C97D9E-74F8-4B39-BB82-1BCFEB4908C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2768" y="3760730"/>
            <a:ext cx="3289360" cy="1671470"/>
          </a:xfrm>
        </p:spPr>
        <p:txBody>
          <a:bodyPr anchor="ctr">
            <a:noAutofit/>
          </a:bodyPr>
          <a:lstStyle>
            <a:lvl1pPr marL="0" indent="0">
              <a:buNone/>
              <a:defRPr sz="1200" spc="0">
                <a:solidFill>
                  <a:schemeClr val="bg1"/>
                </a:solidFill>
              </a:defRPr>
            </a:lvl1pPr>
            <a:lvl2pPr marL="358775" indent="0">
              <a:buNone/>
              <a:defRPr sz="1200"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9" name="Text Placeholder 61">
            <a:extLst>
              <a:ext uri="{FF2B5EF4-FFF2-40B4-BE49-F238E27FC236}">
                <a16:creationId xmlns:a16="http://schemas.microsoft.com/office/drawing/2014/main" id="{7E867A1C-F2D3-4594-962F-3D4EDD6E5E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64262" y="2738352"/>
            <a:ext cx="1105200" cy="1105200"/>
          </a:xfrm>
          <a:prstGeom prst="ellipse">
            <a:avLst/>
          </a:prstGeom>
          <a:solidFill>
            <a:srgbClr val="FFC000"/>
          </a:solidFill>
        </p:spPr>
        <p:txBody>
          <a:bodyPr lIns="36000" tIns="36000" rIns="36000" bIns="36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25" name="Freihandform: Form 27">
            <a:extLst>
              <a:ext uri="{FF2B5EF4-FFF2-40B4-BE49-F238E27FC236}">
                <a16:creationId xmlns:a16="http://schemas.microsoft.com/office/drawing/2014/main" id="{33F3E23B-8741-48BD-93C7-936EFB1280EA}"/>
              </a:ext>
            </a:extLst>
          </p:cNvPr>
          <p:cNvSpPr/>
          <p:nvPr userDrawn="1"/>
        </p:nvSpPr>
        <p:spPr>
          <a:xfrm rot="10800000">
            <a:off x="-2" y="0"/>
            <a:ext cx="3976603" cy="400345"/>
          </a:xfrm>
          <a:custGeom>
            <a:avLst/>
            <a:gdLst>
              <a:gd name="connsiteX0" fmla="*/ 3976603 w 3976603"/>
              <a:gd name="connsiteY0" fmla="*/ 400345 h 400345"/>
              <a:gd name="connsiteX1" fmla="*/ 0 w 3976603"/>
              <a:gd name="connsiteY1" fmla="*/ 400345 h 400345"/>
              <a:gd name="connsiteX2" fmla="*/ 3976603 w 3976603"/>
              <a:gd name="connsiteY2" fmla="*/ 0 h 400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976603" h="400345">
                <a:moveTo>
                  <a:pt x="3976603" y="400345"/>
                </a:moveTo>
                <a:lnTo>
                  <a:pt x="0" y="400345"/>
                </a:lnTo>
                <a:lnTo>
                  <a:pt x="3976603" y="0"/>
                </a:lnTo>
                <a:close/>
              </a:path>
            </a:pathLst>
          </a:custGeom>
          <a:solidFill>
            <a:schemeClr val="accent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84130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74" userDrawn="1">
          <p15:clr>
            <a:srgbClr val="F26B43"/>
          </p15:clr>
        </p15:guide>
        <p15:guide id="2" pos="4906" userDrawn="1">
          <p15:clr>
            <a:srgbClr val="F26B43"/>
          </p15:clr>
        </p15:guide>
        <p15:guide id="3" pos="5087" userDrawn="1">
          <p15:clr>
            <a:srgbClr val="F26B43"/>
          </p15:clr>
        </p15:guide>
        <p15:guide id="4" pos="2366" userDrawn="1">
          <p15:clr>
            <a:srgbClr val="F26B43"/>
          </p15:clr>
        </p15:guide>
        <p15:guide id="5" pos="279" userDrawn="1">
          <p15:clr>
            <a:srgbClr val="F26B43"/>
          </p15:clr>
        </p15:guide>
        <p15:guide id="6" pos="483" userDrawn="1">
          <p15:clr>
            <a:srgbClr val="A4A3A4"/>
          </p15:clr>
        </p15:guide>
        <p15:guide id="7" orient="horz" pos="754" userDrawn="1">
          <p15:clr>
            <a:srgbClr val="A4A3A4"/>
          </p15:clr>
        </p15:guide>
        <p15:guide id="9" orient="horz" pos="210" userDrawn="1">
          <p15:clr>
            <a:srgbClr val="A4A3A4"/>
          </p15:clr>
        </p15:guide>
        <p15:guide id="10" orient="horz" pos="1071" userDrawn="1">
          <p15:clr>
            <a:srgbClr val="F26B43"/>
          </p15:clr>
        </p15:guide>
        <p15:guide id="11" orient="horz" pos="1185" userDrawn="1">
          <p15:clr>
            <a:srgbClr val="F26B43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 // Titel mit Text und Bildplatzhalter (link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B210DD08-1A6C-D749-AE2F-8AD16051E71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297397"/>
            <a:ext cx="7788277" cy="5396530"/>
          </a:xfrm>
          <a:custGeom>
            <a:avLst/>
            <a:gdLst>
              <a:gd name="connsiteX0" fmla="*/ 7788277 w 7788277"/>
              <a:gd name="connsiteY0" fmla="*/ 0 h 5396530"/>
              <a:gd name="connsiteX1" fmla="*/ 7788277 w 7788277"/>
              <a:gd name="connsiteY1" fmla="*/ 35829 h 5396530"/>
              <a:gd name="connsiteX2" fmla="*/ 7788277 w 7788277"/>
              <a:gd name="connsiteY2" fmla="*/ 4609377 h 5396530"/>
              <a:gd name="connsiteX3" fmla="*/ 7788277 w 7788277"/>
              <a:gd name="connsiteY3" fmla="*/ 4645206 h 5396530"/>
              <a:gd name="connsiteX4" fmla="*/ 0 w 7788277"/>
              <a:gd name="connsiteY4" fmla="*/ 5396530 h 5396530"/>
              <a:gd name="connsiteX5" fmla="*/ 0 w 7788277"/>
              <a:gd name="connsiteY5" fmla="*/ 5360701 h 5396530"/>
              <a:gd name="connsiteX6" fmla="*/ 0 w 7788277"/>
              <a:gd name="connsiteY6" fmla="*/ 819915 h 5396530"/>
              <a:gd name="connsiteX7" fmla="*/ 0 w 7788277"/>
              <a:gd name="connsiteY7" fmla="*/ 784086 h 5396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88277" h="5396530">
                <a:moveTo>
                  <a:pt x="7788277" y="0"/>
                </a:moveTo>
                <a:lnTo>
                  <a:pt x="7788277" y="35829"/>
                </a:lnTo>
                <a:lnTo>
                  <a:pt x="7788277" y="4609377"/>
                </a:lnTo>
                <a:lnTo>
                  <a:pt x="7788277" y="4645206"/>
                </a:lnTo>
                <a:lnTo>
                  <a:pt x="0" y="5396530"/>
                </a:lnTo>
                <a:lnTo>
                  <a:pt x="0" y="5360701"/>
                </a:lnTo>
                <a:lnTo>
                  <a:pt x="0" y="819915"/>
                </a:lnTo>
                <a:lnTo>
                  <a:pt x="0" y="78408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9267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53645AC-2DA8-4EF2-BE2D-AC365ED53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6" name="Freeform 6">
            <a:extLst>
              <a:ext uri="{FF2B5EF4-FFF2-40B4-BE49-F238E27FC236}">
                <a16:creationId xmlns:a16="http://schemas.microsoft.com/office/drawing/2014/main" id="{67FF8414-8E5A-459A-9165-71FF071DA875}"/>
              </a:ext>
            </a:extLst>
          </p:cNvPr>
          <p:cNvSpPr/>
          <p:nvPr userDrawn="1"/>
        </p:nvSpPr>
        <p:spPr>
          <a:xfrm>
            <a:off x="-14320" y="4773329"/>
            <a:ext cx="12206319" cy="2084670"/>
          </a:xfrm>
          <a:custGeom>
            <a:avLst/>
            <a:gdLst>
              <a:gd name="connsiteX0" fmla="*/ 12206319 w 12206319"/>
              <a:gd name="connsiteY0" fmla="*/ 0 h 2084670"/>
              <a:gd name="connsiteX1" fmla="*/ 12206319 w 12206319"/>
              <a:gd name="connsiteY1" fmla="*/ 581488 h 2084670"/>
              <a:gd name="connsiteX2" fmla="*/ 12206319 w 12206319"/>
              <a:gd name="connsiteY2" fmla="*/ 1177527 h 2084670"/>
              <a:gd name="connsiteX3" fmla="*/ 12206319 w 12206319"/>
              <a:gd name="connsiteY3" fmla="*/ 2084670 h 2084670"/>
              <a:gd name="connsiteX4" fmla="*/ 0 w 12206319"/>
              <a:gd name="connsiteY4" fmla="*/ 2084670 h 2084670"/>
              <a:gd name="connsiteX5" fmla="*/ 0 w 12206319"/>
              <a:gd name="connsiteY5" fmla="*/ 1177527 h 20846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06319" h="2084670">
                <a:moveTo>
                  <a:pt x="12206319" y="0"/>
                </a:moveTo>
                <a:lnTo>
                  <a:pt x="12206319" y="581488"/>
                </a:lnTo>
                <a:lnTo>
                  <a:pt x="12206319" y="1177527"/>
                </a:lnTo>
                <a:lnTo>
                  <a:pt x="12206319" y="2084670"/>
                </a:lnTo>
                <a:lnTo>
                  <a:pt x="0" y="2084670"/>
                </a:lnTo>
                <a:lnTo>
                  <a:pt x="0" y="1177527"/>
                </a:lnTo>
                <a:close/>
              </a:path>
            </a:pathLst>
          </a:custGeom>
          <a:solidFill>
            <a:schemeClr val="accent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8" name="Freeform 75">
            <a:extLst>
              <a:ext uri="{FF2B5EF4-FFF2-40B4-BE49-F238E27FC236}">
                <a16:creationId xmlns:a16="http://schemas.microsoft.com/office/drawing/2014/main" id="{2CFF6931-BFFB-4A62-B2EA-3CB764125AD2}"/>
              </a:ext>
            </a:extLst>
          </p:cNvPr>
          <p:cNvSpPr/>
          <p:nvPr userDrawn="1"/>
        </p:nvSpPr>
        <p:spPr>
          <a:xfrm>
            <a:off x="8922326" y="5213506"/>
            <a:ext cx="2284395" cy="1894178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D9E003">
              <a:alpha val="2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8" name="Freihandform: Form 27">
            <a:extLst>
              <a:ext uri="{FF2B5EF4-FFF2-40B4-BE49-F238E27FC236}">
                <a16:creationId xmlns:a16="http://schemas.microsoft.com/office/drawing/2014/main" id="{1ED9DF6D-8878-44AC-A12C-893F4576467C}"/>
              </a:ext>
            </a:extLst>
          </p:cNvPr>
          <p:cNvSpPr/>
          <p:nvPr userDrawn="1"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4D13CA-3680-4529-B6B5-9F0A749058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A88AD8-3CFE-481A-9582-168235F0B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CD9C935-DFD8-4C1F-A4AF-B70F53B25DFD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15" name="Freeform 40">
              <a:extLst>
                <a:ext uri="{FF2B5EF4-FFF2-40B4-BE49-F238E27FC236}">
                  <a16:creationId xmlns:a16="http://schemas.microsoft.com/office/drawing/2014/main" id="{589340FF-7D32-47A8-8449-1C2A489DA5B3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tx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41">
              <a:extLst>
                <a:ext uri="{FF2B5EF4-FFF2-40B4-BE49-F238E27FC236}">
                  <a16:creationId xmlns:a16="http://schemas.microsoft.com/office/drawing/2014/main" id="{4F07A579-28CA-49F5-9EEC-EB5412BEBA56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9" name="Text Placeholder 61">
            <a:extLst>
              <a:ext uri="{FF2B5EF4-FFF2-40B4-BE49-F238E27FC236}">
                <a16:creationId xmlns:a16="http://schemas.microsoft.com/office/drawing/2014/main" id="{7E867A1C-F2D3-4594-962F-3D4EDD6E5E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7083" y="4447708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29" name="Text Placeholder 34">
            <a:extLst>
              <a:ext uri="{FF2B5EF4-FFF2-40B4-BE49-F238E27FC236}">
                <a16:creationId xmlns:a16="http://schemas.microsoft.com/office/drawing/2014/main" id="{20E344C6-0D9D-48BE-A8DB-BA19B21C3A4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89468" y="1016000"/>
            <a:ext cx="3335770" cy="3757329"/>
          </a:xfrm>
        </p:spPr>
        <p:txBody>
          <a:bodyPr/>
          <a:lstStyle>
            <a:lvl1pPr marL="0" indent="0">
              <a:buNone/>
              <a:defRPr b="1" spc="0">
                <a:solidFill>
                  <a:schemeClr val="tx1"/>
                </a:solidFill>
              </a:defRPr>
            </a:lvl1pPr>
            <a:lvl2pPr marL="0" indent="0">
              <a:buNone/>
              <a:defRPr spc="0">
                <a:solidFill>
                  <a:schemeClr val="tx1"/>
                </a:solidFill>
              </a:defRPr>
            </a:lvl2pPr>
            <a:lvl3pPr>
              <a:buClr>
                <a:schemeClr val="tx2"/>
              </a:buClr>
              <a:buSzPct val="100000"/>
              <a:buFont typeface="Arial" panose="020B0604020202020204" pitchFamily="34" charset="0"/>
              <a:buChar char="&gt;"/>
              <a:defRPr spc="0">
                <a:solidFill>
                  <a:schemeClr val="tx1"/>
                </a:solidFill>
              </a:defRPr>
            </a:lvl3pPr>
            <a:lvl4pPr marL="715963" indent="-357188"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&gt;"/>
              <a:defRPr spc="0">
                <a:solidFill>
                  <a:schemeClr val="tx1"/>
                </a:solidFill>
              </a:defRPr>
            </a:lvl4pPr>
            <a:lvl5pPr marL="360363" indent="-360363">
              <a:buSzPct val="130000"/>
              <a:buFontTx/>
              <a:buBlip>
                <a:blip r:embed="rId7"/>
              </a:buBlip>
              <a:defRPr b="0" spc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1535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87" userDrawn="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CHWARZ // Bildplatzhalt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2517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4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9C8FAAA3-C206-4AB6-B5E7-12A5FFBDB57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5286826"/>
          </a:xfrm>
          <a:custGeom>
            <a:avLst/>
            <a:gdLst>
              <a:gd name="connsiteX0" fmla="*/ 0 w 12192000"/>
              <a:gd name="connsiteY0" fmla="*/ 0 h 5286826"/>
              <a:gd name="connsiteX1" fmla="*/ 12192000 w 12192000"/>
              <a:gd name="connsiteY1" fmla="*/ 0 h 5286826"/>
              <a:gd name="connsiteX2" fmla="*/ 12192000 w 12192000"/>
              <a:gd name="connsiteY2" fmla="*/ 4110680 h 5286826"/>
              <a:gd name="connsiteX3" fmla="*/ 0 w 12192000"/>
              <a:gd name="connsiteY3" fmla="*/ 5286826 h 5286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286826">
                <a:moveTo>
                  <a:pt x="0" y="0"/>
                </a:moveTo>
                <a:lnTo>
                  <a:pt x="12192000" y="0"/>
                </a:lnTo>
                <a:lnTo>
                  <a:pt x="12192000" y="4110680"/>
                </a:lnTo>
                <a:lnTo>
                  <a:pt x="0" y="528682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1587030"/>
            <a:ext cx="7856911" cy="1477328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48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6F3D174-89D1-411B-90BD-5D8D57671A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1" y="3375890"/>
            <a:ext cx="9212849" cy="984885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3200" b="1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3CC68A23-E418-487E-BB61-DBF9AB5D5585}"/>
              </a:ext>
            </a:extLst>
          </p:cNvPr>
          <p:cNvSpPr/>
          <p:nvPr userDrawn="1"/>
        </p:nvSpPr>
        <p:spPr>
          <a:xfrm>
            <a:off x="9413269" y="4782085"/>
            <a:ext cx="2503570" cy="2075914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14" name="Grafik 7">
            <a:extLst>
              <a:ext uri="{FF2B5EF4-FFF2-40B4-BE49-F238E27FC236}">
                <a16:creationId xmlns:a16="http://schemas.microsoft.com/office/drawing/2014/main" id="{47771F56-AB96-4166-9A11-401910BDF52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7897" y="5679467"/>
            <a:ext cx="4310578" cy="721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6841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2" pos="483" userDrawn="1">
          <p15:clr>
            <a:srgbClr val="A4A3A4"/>
          </p15:clr>
        </p15:guide>
        <p15:guide id="4" orient="horz" pos="754" userDrawn="1">
          <p15:clr>
            <a:srgbClr val="A4A3A4"/>
          </p15:clr>
        </p15:guide>
        <p15:guide id="5" orient="horz" pos="640" userDrawn="1">
          <p15:clr>
            <a:srgbClr val="A4A3A4"/>
          </p15:clr>
        </p15:guide>
        <p15:guide id="6" orient="horz" pos="210" userDrawn="1">
          <p15:clr>
            <a:srgbClr val="A4A3A4"/>
          </p15:clr>
        </p15:guide>
        <p15:guide id="7" pos="7197" userDrawn="1">
          <p15:clr>
            <a:srgbClr val="A4A3A4"/>
          </p15:clr>
        </p15:guide>
        <p15:guide id="8" orient="horz" pos="4065" userDrawn="1">
          <p15:clr>
            <a:srgbClr val="A4A3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r Bilplatzhalt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15146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53645AC-2DA8-4EF2-BE2D-AC365ED53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ihandform: Form 27">
            <a:extLst>
              <a:ext uri="{FF2B5EF4-FFF2-40B4-BE49-F238E27FC236}">
                <a16:creationId xmlns:a16="http://schemas.microsoft.com/office/drawing/2014/main" id="{95D94426-CD31-4CB6-9F92-417C86DD83E5}"/>
              </a:ext>
            </a:extLst>
          </p:cNvPr>
          <p:cNvSpPr/>
          <p:nvPr userDrawn="1"/>
        </p:nvSpPr>
        <p:spPr>
          <a:xfrm rot="10800000" flipH="1" flipV="1">
            <a:off x="1449685" y="5776515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756F5AB8-9436-4ACC-9DE2-DE3EA98CC9A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742305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223370 h 6858000"/>
              <a:gd name="connsiteX3" fmla="*/ 5621103 w 12192000"/>
              <a:gd name="connsiteY3" fmla="*/ 6858000 h 6858000"/>
              <a:gd name="connsiteX4" fmla="*/ 0 w 12192000"/>
              <a:gd name="connsiteY4" fmla="*/ 6858000 h 6858000"/>
              <a:gd name="connsiteX5" fmla="*/ 0 w 12192000"/>
              <a:gd name="connsiteY5" fmla="*/ 108148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0742305" y="0"/>
                </a:moveTo>
                <a:lnTo>
                  <a:pt x="12192000" y="0"/>
                </a:lnTo>
                <a:lnTo>
                  <a:pt x="12192000" y="6223370"/>
                </a:lnTo>
                <a:lnTo>
                  <a:pt x="5621103" y="6858000"/>
                </a:lnTo>
                <a:lnTo>
                  <a:pt x="0" y="6858000"/>
                </a:lnTo>
                <a:lnTo>
                  <a:pt x="0" y="1081483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8" name="Freihandform: Form 27">
            <a:extLst>
              <a:ext uri="{FF2B5EF4-FFF2-40B4-BE49-F238E27FC236}">
                <a16:creationId xmlns:a16="http://schemas.microsoft.com/office/drawing/2014/main" id="{1ED9DF6D-8878-44AC-A12C-893F4576467C}"/>
              </a:ext>
            </a:extLst>
          </p:cNvPr>
          <p:cNvSpPr/>
          <p:nvPr userDrawn="1"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CD9C935-DFD8-4C1F-A4AF-B70F53B25DFD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15" name="Freeform 40">
              <a:extLst>
                <a:ext uri="{FF2B5EF4-FFF2-40B4-BE49-F238E27FC236}">
                  <a16:creationId xmlns:a16="http://schemas.microsoft.com/office/drawing/2014/main" id="{589340FF-7D32-47A8-8449-1C2A489DA5B3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tx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41">
              <a:extLst>
                <a:ext uri="{FF2B5EF4-FFF2-40B4-BE49-F238E27FC236}">
                  <a16:creationId xmlns:a16="http://schemas.microsoft.com/office/drawing/2014/main" id="{4F07A579-28CA-49F5-9EEC-EB5412BEBA56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E23AD241-DF8E-4051-8B5A-E0AA069385E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2331641"/>
            <a:ext cx="5127438" cy="4526359"/>
          </a:xfrm>
          <a:custGeom>
            <a:avLst/>
            <a:gdLst>
              <a:gd name="connsiteX0" fmla="*/ 5100034 w 5127438"/>
              <a:gd name="connsiteY0" fmla="*/ 0 h 4526359"/>
              <a:gd name="connsiteX1" fmla="*/ 5127438 w 5127438"/>
              <a:gd name="connsiteY1" fmla="*/ 0 h 4526359"/>
              <a:gd name="connsiteX2" fmla="*/ 5127438 w 5127438"/>
              <a:gd name="connsiteY2" fmla="*/ 4211781 h 4526359"/>
              <a:gd name="connsiteX3" fmla="*/ 2002757 w 5127438"/>
              <a:gd name="connsiteY3" fmla="*/ 4526359 h 4526359"/>
              <a:gd name="connsiteX4" fmla="*/ 0 w 5127438"/>
              <a:gd name="connsiteY4" fmla="*/ 4526359 h 4526359"/>
              <a:gd name="connsiteX5" fmla="*/ 0 w 5127438"/>
              <a:gd name="connsiteY5" fmla="*/ 513447 h 4526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27438" h="4526359">
                <a:moveTo>
                  <a:pt x="5100034" y="0"/>
                </a:moveTo>
                <a:lnTo>
                  <a:pt x="5127438" y="0"/>
                </a:lnTo>
                <a:lnTo>
                  <a:pt x="5127438" y="4211781"/>
                </a:lnTo>
                <a:lnTo>
                  <a:pt x="2002757" y="4526359"/>
                </a:lnTo>
                <a:lnTo>
                  <a:pt x="0" y="4526359"/>
                </a:lnTo>
                <a:lnTo>
                  <a:pt x="0" y="513447"/>
                </a:lnTo>
                <a:close/>
              </a:path>
            </a:pathLst>
          </a:custGeom>
          <a:solidFill>
            <a:schemeClr val="tx2">
              <a:alpha val="74000"/>
            </a:schemeClr>
          </a:solidFill>
        </p:spPr>
        <p:txBody>
          <a:bodyPr wrap="square" lIns="1008000" tIns="864000" rIns="1008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FontTx/>
              <a:buBlip>
                <a:blip r:embed="rId7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4D13CA-3680-4529-B6B5-9F0A749058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A88AD8-3CFE-481A-9582-168235F0B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43040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 // 2 Texte auf Bil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F0BFEF38-786D-4152-A749-2AFFD780C12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297398"/>
            <a:ext cx="7788277" cy="6216757"/>
          </a:xfrm>
          <a:custGeom>
            <a:avLst/>
            <a:gdLst>
              <a:gd name="connsiteX0" fmla="*/ 7788277 w 7788277"/>
              <a:gd name="connsiteY0" fmla="*/ 0 h 6216757"/>
              <a:gd name="connsiteX1" fmla="*/ 7788277 w 7788277"/>
              <a:gd name="connsiteY1" fmla="*/ 856056 h 6216757"/>
              <a:gd name="connsiteX2" fmla="*/ 7788277 w 7788277"/>
              <a:gd name="connsiteY2" fmla="*/ 979568 h 6216757"/>
              <a:gd name="connsiteX3" fmla="*/ 4116386 w 7788277"/>
              <a:gd name="connsiteY3" fmla="*/ 1349236 h 6216757"/>
              <a:gd name="connsiteX4" fmla="*/ 4116386 w 7788277"/>
              <a:gd name="connsiteY4" fmla="*/ 1364277 h 6216757"/>
              <a:gd name="connsiteX5" fmla="*/ 4116386 w 7788277"/>
              <a:gd name="connsiteY5" fmla="*/ 3014189 h 6216757"/>
              <a:gd name="connsiteX6" fmla="*/ 4116386 w 7788277"/>
              <a:gd name="connsiteY6" fmla="*/ 5819655 h 6216757"/>
              <a:gd name="connsiteX7" fmla="*/ 0 w 7788277"/>
              <a:gd name="connsiteY7" fmla="*/ 6216757 h 6216757"/>
              <a:gd name="connsiteX8" fmla="*/ 0 w 7788277"/>
              <a:gd name="connsiteY8" fmla="*/ 5360701 h 6216757"/>
              <a:gd name="connsiteX9" fmla="*/ 0 w 7788277"/>
              <a:gd name="connsiteY9" fmla="*/ 1640142 h 6216757"/>
              <a:gd name="connsiteX10" fmla="*/ 0 w 7788277"/>
              <a:gd name="connsiteY10" fmla="*/ 784086 h 6216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88277" h="6216757">
                <a:moveTo>
                  <a:pt x="7788277" y="0"/>
                </a:moveTo>
                <a:lnTo>
                  <a:pt x="7788277" y="856056"/>
                </a:lnTo>
                <a:lnTo>
                  <a:pt x="7788277" y="979568"/>
                </a:lnTo>
                <a:lnTo>
                  <a:pt x="4116386" y="1349236"/>
                </a:lnTo>
                <a:lnTo>
                  <a:pt x="4116386" y="1364277"/>
                </a:lnTo>
                <a:lnTo>
                  <a:pt x="4116386" y="3014189"/>
                </a:lnTo>
                <a:lnTo>
                  <a:pt x="4116386" y="5819655"/>
                </a:lnTo>
                <a:lnTo>
                  <a:pt x="0" y="6216757"/>
                </a:lnTo>
                <a:lnTo>
                  <a:pt x="0" y="5360701"/>
                </a:lnTo>
                <a:lnTo>
                  <a:pt x="0" y="1640142"/>
                </a:lnTo>
                <a:lnTo>
                  <a:pt x="0" y="78408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148BEEFE-4F0A-4044-96B5-A6ADD49FFDC3}"/>
              </a:ext>
            </a:extLst>
          </p:cNvPr>
          <p:cNvSpPr/>
          <p:nvPr userDrawn="1"/>
        </p:nvSpPr>
        <p:spPr>
          <a:xfrm rot="10800000">
            <a:off x="4116386" y="878210"/>
            <a:ext cx="7632701" cy="5912718"/>
          </a:xfrm>
          <a:custGeom>
            <a:avLst/>
            <a:gdLst>
              <a:gd name="connsiteX0" fmla="*/ 0 w 7632701"/>
              <a:gd name="connsiteY0" fmla="*/ 5912718 h 5912718"/>
              <a:gd name="connsiteX1" fmla="*/ 0 w 7632701"/>
              <a:gd name="connsiteY1" fmla="*/ 5897677 h 5912718"/>
              <a:gd name="connsiteX2" fmla="*/ 0 w 7632701"/>
              <a:gd name="connsiteY2" fmla="*/ 5837327 h 5912718"/>
              <a:gd name="connsiteX3" fmla="*/ 0 w 7632701"/>
              <a:gd name="connsiteY3" fmla="*/ 5774928 h 5912718"/>
              <a:gd name="connsiteX4" fmla="*/ 0 w 7632701"/>
              <a:gd name="connsiteY4" fmla="*/ 5759887 h 5912718"/>
              <a:gd name="connsiteX5" fmla="*/ 0 w 7632701"/>
              <a:gd name="connsiteY5" fmla="*/ 5699537 h 5912718"/>
              <a:gd name="connsiteX6" fmla="*/ 0 w 7632701"/>
              <a:gd name="connsiteY6" fmla="*/ 5697598 h 5912718"/>
              <a:gd name="connsiteX7" fmla="*/ 0 w 7632701"/>
              <a:gd name="connsiteY7" fmla="*/ 5589538 h 5912718"/>
              <a:gd name="connsiteX8" fmla="*/ 0 w 7632701"/>
              <a:gd name="connsiteY8" fmla="*/ 5559808 h 5912718"/>
              <a:gd name="connsiteX9" fmla="*/ 0 w 7632701"/>
              <a:gd name="connsiteY9" fmla="*/ 5530900 h 5912718"/>
              <a:gd name="connsiteX10" fmla="*/ 0 w 7632701"/>
              <a:gd name="connsiteY10" fmla="*/ 5451748 h 5912718"/>
              <a:gd name="connsiteX11" fmla="*/ 0 w 7632701"/>
              <a:gd name="connsiteY11" fmla="*/ 5422839 h 5912718"/>
              <a:gd name="connsiteX12" fmla="*/ 0 w 7632701"/>
              <a:gd name="connsiteY12" fmla="*/ 5393110 h 5912718"/>
              <a:gd name="connsiteX13" fmla="*/ 0 w 7632701"/>
              <a:gd name="connsiteY13" fmla="*/ 5285049 h 5912718"/>
              <a:gd name="connsiteX14" fmla="*/ 0 w 7632701"/>
              <a:gd name="connsiteY14" fmla="*/ 5275330 h 5912718"/>
              <a:gd name="connsiteX15" fmla="*/ 0 w 7632701"/>
              <a:gd name="connsiteY15" fmla="*/ 5137540 h 5912718"/>
              <a:gd name="connsiteX16" fmla="*/ 0 w 7632701"/>
              <a:gd name="connsiteY16" fmla="*/ 4247765 h 5912718"/>
              <a:gd name="connsiteX17" fmla="*/ 0 w 7632701"/>
              <a:gd name="connsiteY17" fmla="*/ 4109975 h 5912718"/>
              <a:gd name="connsiteX18" fmla="*/ 0 w 7632701"/>
              <a:gd name="connsiteY18" fmla="*/ 3625418 h 5912718"/>
              <a:gd name="connsiteX19" fmla="*/ 0 w 7632701"/>
              <a:gd name="connsiteY19" fmla="*/ 3487628 h 5912718"/>
              <a:gd name="connsiteX20" fmla="*/ 0 w 7632701"/>
              <a:gd name="connsiteY20" fmla="*/ 3379668 h 5912718"/>
              <a:gd name="connsiteX21" fmla="*/ 0 w 7632701"/>
              <a:gd name="connsiteY21" fmla="*/ 3241878 h 5912718"/>
              <a:gd name="connsiteX22" fmla="*/ 0 w 7632701"/>
              <a:gd name="connsiteY22" fmla="*/ 2970612 h 5912718"/>
              <a:gd name="connsiteX23" fmla="*/ 0 w 7632701"/>
              <a:gd name="connsiteY23" fmla="*/ 2832822 h 5912718"/>
              <a:gd name="connsiteX24" fmla="*/ 0 w 7632701"/>
              <a:gd name="connsiteY24" fmla="*/ 2664186 h 5912718"/>
              <a:gd name="connsiteX25" fmla="*/ 0 w 7632701"/>
              <a:gd name="connsiteY25" fmla="*/ 2556126 h 5912718"/>
              <a:gd name="connsiteX26" fmla="*/ 0 w 7632701"/>
              <a:gd name="connsiteY26" fmla="*/ 2526396 h 5912718"/>
              <a:gd name="connsiteX27" fmla="*/ 0 w 7632701"/>
              <a:gd name="connsiteY27" fmla="*/ 2418336 h 5912718"/>
              <a:gd name="connsiteX28" fmla="*/ 0 w 7632701"/>
              <a:gd name="connsiteY28" fmla="*/ 1729756 h 5912718"/>
              <a:gd name="connsiteX29" fmla="*/ 0 w 7632701"/>
              <a:gd name="connsiteY29" fmla="*/ 1591966 h 5912718"/>
              <a:gd name="connsiteX30" fmla="*/ 0 w 7632701"/>
              <a:gd name="connsiteY30" fmla="*/ 1320700 h 5912718"/>
              <a:gd name="connsiteX31" fmla="*/ 0 w 7632701"/>
              <a:gd name="connsiteY31" fmla="*/ 1182910 h 5912718"/>
              <a:gd name="connsiteX32" fmla="*/ 0 w 7632701"/>
              <a:gd name="connsiteY32" fmla="*/ 1014273 h 5912718"/>
              <a:gd name="connsiteX33" fmla="*/ 0 w 7632701"/>
              <a:gd name="connsiteY33" fmla="*/ 906214 h 5912718"/>
              <a:gd name="connsiteX34" fmla="*/ 0 w 7632701"/>
              <a:gd name="connsiteY34" fmla="*/ 876483 h 5912718"/>
              <a:gd name="connsiteX35" fmla="*/ 0 w 7632701"/>
              <a:gd name="connsiteY35" fmla="*/ 768424 h 5912718"/>
              <a:gd name="connsiteX36" fmla="*/ 7632701 w 7632701"/>
              <a:gd name="connsiteY36" fmla="*/ 0 h 5912718"/>
              <a:gd name="connsiteX37" fmla="*/ 7632701 w 7632701"/>
              <a:gd name="connsiteY37" fmla="*/ 137790 h 5912718"/>
              <a:gd name="connsiteX38" fmla="*/ 7632701 w 7632701"/>
              <a:gd name="connsiteY38" fmla="*/ 3341551 h 5912718"/>
              <a:gd name="connsiteX39" fmla="*/ 7632701 w 7632701"/>
              <a:gd name="connsiteY39" fmla="*/ 3479341 h 5912718"/>
              <a:gd name="connsiteX40" fmla="*/ 7632701 w 7632701"/>
              <a:gd name="connsiteY40" fmla="*/ 4991463 h 5912718"/>
              <a:gd name="connsiteX41" fmla="*/ 7632701 w 7632701"/>
              <a:gd name="connsiteY41" fmla="*/ 5006504 h 5912718"/>
              <a:gd name="connsiteX42" fmla="*/ 7632701 w 7632701"/>
              <a:gd name="connsiteY42" fmla="*/ 5129253 h 5912718"/>
              <a:gd name="connsiteX43" fmla="*/ 7632701 w 7632701"/>
              <a:gd name="connsiteY43" fmla="*/ 5144294 h 5912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7632701" h="5912718">
                <a:moveTo>
                  <a:pt x="0" y="5912718"/>
                </a:moveTo>
                <a:lnTo>
                  <a:pt x="0" y="5897677"/>
                </a:lnTo>
                <a:lnTo>
                  <a:pt x="0" y="5837327"/>
                </a:lnTo>
                <a:lnTo>
                  <a:pt x="0" y="5774928"/>
                </a:lnTo>
                <a:lnTo>
                  <a:pt x="0" y="5759887"/>
                </a:lnTo>
                <a:lnTo>
                  <a:pt x="0" y="5699537"/>
                </a:lnTo>
                <a:lnTo>
                  <a:pt x="0" y="5697598"/>
                </a:lnTo>
                <a:lnTo>
                  <a:pt x="0" y="5589538"/>
                </a:lnTo>
                <a:lnTo>
                  <a:pt x="0" y="5559808"/>
                </a:lnTo>
                <a:lnTo>
                  <a:pt x="0" y="5530900"/>
                </a:lnTo>
                <a:lnTo>
                  <a:pt x="0" y="5451748"/>
                </a:lnTo>
                <a:lnTo>
                  <a:pt x="0" y="5422839"/>
                </a:lnTo>
                <a:lnTo>
                  <a:pt x="0" y="5393110"/>
                </a:lnTo>
                <a:lnTo>
                  <a:pt x="0" y="5285049"/>
                </a:lnTo>
                <a:lnTo>
                  <a:pt x="0" y="5275330"/>
                </a:lnTo>
                <a:lnTo>
                  <a:pt x="0" y="5137540"/>
                </a:lnTo>
                <a:lnTo>
                  <a:pt x="0" y="4247765"/>
                </a:lnTo>
                <a:lnTo>
                  <a:pt x="0" y="4109975"/>
                </a:lnTo>
                <a:lnTo>
                  <a:pt x="0" y="3625418"/>
                </a:lnTo>
                <a:lnTo>
                  <a:pt x="0" y="3487628"/>
                </a:lnTo>
                <a:lnTo>
                  <a:pt x="0" y="3379668"/>
                </a:lnTo>
                <a:lnTo>
                  <a:pt x="0" y="3241878"/>
                </a:lnTo>
                <a:lnTo>
                  <a:pt x="0" y="2970612"/>
                </a:lnTo>
                <a:lnTo>
                  <a:pt x="0" y="2832822"/>
                </a:lnTo>
                <a:lnTo>
                  <a:pt x="0" y="2664186"/>
                </a:lnTo>
                <a:lnTo>
                  <a:pt x="0" y="2556126"/>
                </a:lnTo>
                <a:lnTo>
                  <a:pt x="0" y="2526396"/>
                </a:lnTo>
                <a:lnTo>
                  <a:pt x="0" y="2418336"/>
                </a:lnTo>
                <a:lnTo>
                  <a:pt x="0" y="1729756"/>
                </a:lnTo>
                <a:lnTo>
                  <a:pt x="0" y="1591966"/>
                </a:lnTo>
                <a:lnTo>
                  <a:pt x="0" y="1320700"/>
                </a:lnTo>
                <a:lnTo>
                  <a:pt x="0" y="1182910"/>
                </a:lnTo>
                <a:lnTo>
                  <a:pt x="0" y="1014273"/>
                </a:lnTo>
                <a:lnTo>
                  <a:pt x="0" y="906214"/>
                </a:lnTo>
                <a:lnTo>
                  <a:pt x="0" y="876483"/>
                </a:lnTo>
                <a:lnTo>
                  <a:pt x="0" y="768424"/>
                </a:lnTo>
                <a:lnTo>
                  <a:pt x="7632701" y="0"/>
                </a:lnTo>
                <a:lnTo>
                  <a:pt x="7632701" y="137790"/>
                </a:lnTo>
                <a:lnTo>
                  <a:pt x="7632701" y="3341551"/>
                </a:lnTo>
                <a:lnTo>
                  <a:pt x="7632701" y="3479341"/>
                </a:lnTo>
                <a:lnTo>
                  <a:pt x="7632701" y="4991463"/>
                </a:lnTo>
                <a:lnTo>
                  <a:pt x="7632701" y="5006504"/>
                </a:lnTo>
                <a:lnTo>
                  <a:pt x="7632701" y="5129253"/>
                </a:lnTo>
                <a:lnTo>
                  <a:pt x="7632701" y="5144294"/>
                </a:lnTo>
                <a:close/>
              </a:path>
            </a:pathLst>
          </a:custGeom>
          <a:solidFill>
            <a:schemeClr val="accent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5525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53645AC-2DA8-4EF2-BE2D-AC365ED53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Freihandform: Form 27">
            <a:extLst>
              <a:ext uri="{FF2B5EF4-FFF2-40B4-BE49-F238E27FC236}">
                <a16:creationId xmlns:a16="http://schemas.microsoft.com/office/drawing/2014/main" id="{1ED9DF6D-8878-44AC-A12C-893F4576467C}"/>
              </a:ext>
            </a:extLst>
          </p:cNvPr>
          <p:cNvSpPr/>
          <p:nvPr userDrawn="1"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CD9C935-DFD8-4C1F-A4AF-B70F53B25DFD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15" name="Freeform 40">
              <a:extLst>
                <a:ext uri="{FF2B5EF4-FFF2-40B4-BE49-F238E27FC236}">
                  <a16:creationId xmlns:a16="http://schemas.microsoft.com/office/drawing/2014/main" id="{589340FF-7D32-47A8-8449-1C2A489DA5B3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tx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41">
              <a:extLst>
                <a:ext uri="{FF2B5EF4-FFF2-40B4-BE49-F238E27FC236}">
                  <a16:creationId xmlns:a16="http://schemas.microsoft.com/office/drawing/2014/main" id="{4F07A579-28CA-49F5-9EEC-EB5412BEBA56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4D13CA-3680-4529-B6B5-9F0A749058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A88AD8-3CFE-481A-9582-168235F0B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2" name="Freihandform: Form 22">
            <a:extLst>
              <a:ext uri="{FF2B5EF4-FFF2-40B4-BE49-F238E27FC236}">
                <a16:creationId xmlns:a16="http://schemas.microsoft.com/office/drawing/2014/main" id="{A0D903E6-C44E-4A70-A6AE-FB7D4F2C04E9}"/>
              </a:ext>
            </a:extLst>
          </p:cNvPr>
          <p:cNvSpPr/>
          <p:nvPr userDrawn="1"/>
        </p:nvSpPr>
        <p:spPr>
          <a:xfrm>
            <a:off x="5613395" y="6223371"/>
            <a:ext cx="6578604" cy="634629"/>
          </a:xfrm>
          <a:custGeom>
            <a:avLst/>
            <a:gdLst>
              <a:gd name="connsiteX0" fmla="*/ 6578604 w 6578604"/>
              <a:gd name="connsiteY0" fmla="*/ 0 h 634629"/>
              <a:gd name="connsiteX1" fmla="*/ 6578604 w 6578604"/>
              <a:gd name="connsiteY1" fmla="*/ 581488 h 634629"/>
              <a:gd name="connsiteX2" fmla="*/ 6578604 w 6578604"/>
              <a:gd name="connsiteY2" fmla="*/ 634629 h 634629"/>
              <a:gd name="connsiteX3" fmla="*/ 0 w 6578604"/>
              <a:gd name="connsiteY3" fmla="*/ 634629 h 634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78604" h="634629">
                <a:moveTo>
                  <a:pt x="6578604" y="0"/>
                </a:moveTo>
                <a:lnTo>
                  <a:pt x="6578604" y="581488"/>
                </a:lnTo>
                <a:lnTo>
                  <a:pt x="6578604" y="634629"/>
                </a:lnTo>
                <a:lnTo>
                  <a:pt x="0" y="634629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0" name="Text Placeholder 61">
            <a:extLst>
              <a:ext uri="{FF2B5EF4-FFF2-40B4-BE49-F238E27FC236}">
                <a16:creationId xmlns:a16="http://schemas.microsoft.com/office/drawing/2014/main" id="{2D02F780-5912-428A-9BD7-0A3D8102FA5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78999" y="589506"/>
            <a:ext cx="1216800" cy="1216800"/>
          </a:xfrm>
          <a:prstGeom prst="ellipse">
            <a:avLst/>
          </a:prstGeom>
          <a:solidFill>
            <a:srgbClr val="FFC000"/>
          </a:solidFill>
        </p:spPr>
        <p:txBody>
          <a:bodyPr lIns="36000" tIns="36000" rIns="36000" bIns="36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31" name="Text Placeholder 34">
            <a:extLst>
              <a:ext uri="{FF2B5EF4-FFF2-40B4-BE49-F238E27FC236}">
                <a16:creationId xmlns:a16="http://schemas.microsoft.com/office/drawing/2014/main" id="{F68C68D2-6AA1-4354-AC6D-4CF0689386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03725" y="1897316"/>
            <a:ext cx="3384550" cy="3806797"/>
          </a:xfrm>
        </p:spPr>
        <p:txBody>
          <a:bodyPr/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FontTx/>
              <a:buBlip>
                <a:blip r:embed="rId7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2" name="Text Placeholder 34">
            <a:extLst>
              <a:ext uri="{FF2B5EF4-FFF2-40B4-BE49-F238E27FC236}">
                <a16:creationId xmlns:a16="http://schemas.microsoft.com/office/drawing/2014/main" id="{B2627D31-BA2B-49B5-A7EB-39B12E23280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89468" y="1897316"/>
            <a:ext cx="3335770" cy="3806797"/>
          </a:xfrm>
        </p:spPr>
        <p:txBody>
          <a:bodyPr/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FontTx/>
              <a:buBlip>
                <a:blip r:embed="rId7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81286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87">
          <p15:clr>
            <a:srgbClr val="F26B43"/>
          </p15:clr>
        </p15:guide>
        <p15:guide id="2" pos="4906" userDrawn="1">
          <p15:clr>
            <a:srgbClr val="F26B43"/>
          </p15:clr>
        </p15:guide>
        <p15:guide id="3" pos="2774" userDrawn="1">
          <p15:clr>
            <a:srgbClr val="F26B43"/>
          </p15:clr>
        </p15:guide>
        <p15:guide id="4" orient="horz" pos="1185" userDrawn="1">
          <p15:clr>
            <a:srgbClr val="F26B43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WARZ // 2 Texte auf Bilplatzhalt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5298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53645AC-2DA8-4EF2-BE2D-AC365ED53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F0BFEF38-786D-4152-A749-2AFFD780C12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297398"/>
            <a:ext cx="7788277" cy="6216757"/>
          </a:xfrm>
          <a:custGeom>
            <a:avLst/>
            <a:gdLst>
              <a:gd name="connsiteX0" fmla="*/ 7788277 w 7788277"/>
              <a:gd name="connsiteY0" fmla="*/ 0 h 6216757"/>
              <a:gd name="connsiteX1" fmla="*/ 7788277 w 7788277"/>
              <a:gd name="connsiteY1" fmla="*/ 856056 h 6216757"/>
              <a:gd name="connsiteX2" fmla="*/ 7788277 w 7788277"/>
              <a:gd name="connsiteY2" fmla="*/ 979568 h 6216757"/>
              <a:gd name="connsiteX3" fmla="*/ 4116386 w 7788277"/>
              <a:gd name="connsiteY3" fmla="*/ 1349236 h 6216757"/>
              <a:gd name="connsiteX4" fmla="*/ 4116386 w 7788277"/>
              <a:gd name="connsiteY4" fmla="*/ 1364277 h 6216757"/>
              <a:gd name="connsiteX5" fmla="*/ 4116386 w 7788277"/>
              <a:gd name="connsiteY5" fmla="*/ 3014189 h 6216757"/>
              <a:gd name="connsiteX6" fmla="*/ 4116386 w 7788277"/>
              <a:gd name="connsiteY6" fmla="*/ 5819655 h 6216757"/>
              <a:gd name="connsiteX7" fmla="*/ 0 w 7788277"/>
              <a:gd name="connsiteY7" fmla="*/ 6216757 h 6216757"/>
              <a:gd name="connsiteX8" fmla="*/ 0 w 7788277"/>
              <a:gd name="connsiteY8" fmla="*/ 5360701 h 6216757"/>
              <a:gd name="connsiteX9" fmla="*/ 0 w 7788277"/>
              <a:gd name="connsiteY9" fmla="*/ 1640142 h 6216757"/>
              <a:gd name="connsiteX10" fmla="*/ 0 w 7788277"/>
              <a:gd name="connsiteY10" fmla="*/ 784086 h 6216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88277" h="6216757">
                <a:moveTo>
                  <a:pt x="7788277" y="0"/>
                </a:moveTo>
                <a:lnTo>
                  <a:pt x="7788277" y="856056"/>
                </a:lnTo>
                <a:lnTo>
                  <a:pt x="7788277" y="979568"/>
                </a:lnTo>
                <a:lnTo>
                  <a:pt x="4116386" y="1349236"/>
                </a:lnTo>
                <a:lnTo>
                  <a:pt x="4116386" y="1364277"/>
                </a:lnTo>
                <a:lnTo>
                  <a:pt x="4116386" y="3014189"/>
                </a:lnTo>
                <a:lnTo>
                  <a:pt x="4116386" y="5819655"/>
                </a:lnTo>
                <a:lnTo>
                  <a:pt x="0" y="6216757"/>
                </a:lnTo>
                <a:lnTo>
                  <a:pt x="0" y="5360701"/>
                </a:lnTo>
                <a:lnTo>
                  <a:pt x="0" y="1640142"/>
                </a:lnTo>
                <a:lnTo>
                  <a:pt x="0" y="78408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8" name="Freihandform: Form 27">
            <a:extLst>
              <a:ext uri="{FF2B5EF4-FFF2-40B4-BE49-F238E27FC236}">
                <a16:creationId xmlns:a16="http://schemas.microsoft.com/office/drawing/2014/main" id="{1ED9DF6D-8878-44AC-A12C-893F4576467C}"/>
              </a:ext>
            </a:extLst>
          </p:cNvPr>
          <p:cNvSpPr/>
          <p:nvPr userDrawn="1"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accent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6" name="Freeform 41">
            <a:extLst>
              <a:ext uri="{FF2B5EF4-FFF2-40B4-BE49-F238E27FC236}">
                <a16:creationId xmlns:a16="http://schemas.microsoft.com/office/drawing/2014/main" id="{4F07A579-28CA-49F5-9EEC-EB5412BEBA56}"/>
              </a:ext>
            </a:extLst>
          </p:cNvPr>
          <p:cNvSpPr/>
          <p:nvPr/>
        </p:nvSpPr>
        <p:spPr>
          <a:xfrm>
            <a:off x="102758" y="518040"/>
            <a:ext cx="446364" cy="370116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4D13CA-3680-4529-B6B5-9F0A749058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A88AD8-3CFE-481A-9582-168235F0B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2" name="Freihandform: Form 22">
            <a:extLst>
              <a:ext uri="{FF2B5EF4-FFF2-40B4-BE49-F238E27FC236}">
                <a16:creationId xmlns:a16="http://schemas.microsoft.com/office/drawing/2014/main" id="{A0D903E6-C44E-4A70-A6AE-FB7D4F2C04E9}"/>
              </a:ext>
            </a:extLst>
          </p:cNvPr>
          <p:cNvSpPr/>
          <p:nvPr userDrawn="1"/>
        </p:nvSpPr>
        <p:spPr>
          <a:xfrm>
            <a:off x="5613395" y="6223371"/>
            <a:ext cx="6578604" cy="634629"/>
          </a:xfrm>
          <a:custGeom>
            <a:avLst/>
            <a:gdLst>
              <a:gd name="connsiteX0" fmla="*/ 6578604 w 6578604"/>
              <a:gd name="connsiteY0" fmla="*/ 0 h 634629"/>
              <a:gd name="connsiteX1" fmla="*/ 6578604 w 6578604"/>
              <a:gd name="connsiteY1" fmla="*/ 581488 h 634629"/>
              <a:gd name="connsiteX2" fmla="*/ 6578604 w 6578604"/>
              <a:gd name="connsiteY2" fmla="*/ 634629 h 634629"/>
              <a:gd name="connsiteX3" fmla="*/ 0 w 6578604"/>
              <a:gd name="connsiteY3" fmla="*/ 634629 h 634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78604" h="634629">
                <a:moveTo>
                  <a:pt x="6578604" y="0"/>
                </a:moveTo>
                <a:lnTo>
                  <a:pt x="6578604" y="581488"/>
                </a:lnTo>
                <a:lnTo>
                  <a:pt x="6578604" y="634629"/>
                </a:lnTo>
                <a:lnTo>
                  <a:pt x="0" y="634629"/>
                </a:lnTo>
                <a:close/>
              </a:path>
            </a:pathLst>
          </a:custGeom>
          <a:solidFill>
            <a:schemeClr val="accent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5" name="Freeform 45">
            <a:extLst>
              <a:ext uri="{FF2B5EF4-FFF2-40B4-BE49-F238E27FC236}">
                <a16:creationId xmlns:a16="http://schemas.microsoft.com/office/drawing/2014/main" id="{D689FEEF-524A-4000-8584-86BE1EBD1742}"/>
              </a:ext>
            </a:extLst>
          </p:cNvPr>
          <p:cNvSpPr/>
          <p:nvPr userDrawn="1"/>
        </p:nvSpPr>
        <p:spPr>
          <a:xfrm rot="10800000">
            <a:off x="4116386" y="878210"/>
            <a:ext cx="7632701" cy="5774928"/>
          </a:xfrm>
          <a:custGeom>
            <a:avLst/>
            <a:gdLst>
              <a:gd name="connsiteX0" fmla="*/ 0 w 7632701"/>
              <a:gd name="connsiteY0" fmla="*/ 5774928 h 5774928"/>
              <a:gd name="connsiteX1" fmla="*/ 0 w 7632701"/>
              <a:gd name="connsiteY1" fmla="*/ 5759887 h 5774928"/>
              <a:gd name="connsiteX2" fmla="*/ 0 w 7632701"/>
              <a:gd name="connsiteY2" fmla="*/ 5699537 h 5774928"/>
              <a:gd name="connsiteX3" fmla="*/ 0 w 7632701"/>
              <a:gd name="connsiteY3" fmla="*/ 5559808 h 5774928"/>
              <a:gd name="connsiteX4" fmla="*/ 0 w 7632701"/>
              <a:gd name="connsiteY4" fmla="*/ 5451748 h 5774928"/>
              <a:gd name="connsiteX5" fmla="*/ 0 w 7632701"/>
              <a:gd name="connsiteY5" fmla="*/ 5393110 h 5774928"/>
              <a:gd name="connsiteX6" fmla="*/ 0 w 7632701"/>
              <a:gd name="connsiteY6" fmla="*/ 5285049 h 5774928"/>
              <a:gd name="connsiteX7" fmla="*/ 0 w 7632701"/>
              <a:gd name="connsiteY7" fmla="*/ 5137540 h 5774928"/>
              <a:gd name="connsiteX8" fmla="*/ 0 w 7632701"/>
              <a:gd name="connsiteY8" fmla="*/ 4109975 h 5774928"/>
              <a:gd name="connsiteX9" fmla="*/ 0 w 7632701"/>
              <a:gd name="connsiteY9" fmla="*/ 3487628 h 5774928"/>
              <a:gd name="connsiteX10" fmla="*/ 0 w 7632701"/>
              <a:gd name="connsiteY10" fmla="*/ 3241878 h 5774928"/>
              <a:gd name="connsiteX11" fmla="*/ 0 w 7632701"/>
              <a:gd name="connsiteY11" fmla="*/ 2832822 h 5774928"/>
              <a:gd name="connsiteX12" fmla="*/ 0 w 7632701"/>
              <a:gd name="connsiteY12" fmla="*/ 2526396 h 5774928"/>
              <a:gd name="connsiteX13" fmla="*/ 0 w 7632701"/>
              <a:gd name="connsiteY13" fmla="*/ 2418336 h 5774928"/>
              <a:gd name="connsiteX14" fmla="*/ 0 w 7632701"/>
              <a:gd name="connsiteY14" fmla="*/ 1591966 h 5774928"/>
              <a:gd name="connsiteX15" fmla="*/ 0 w 7632701"/>
              <a:gd name="connsiteY15" fmla="*/ 1182910 h 5774928"/>
              <a:gd name="connsiteX16" fmla="*/ 0 w 7632701"/>
              <a:gd name="connsiteY16" fmla="*/ 876483 h 5774928"/>
              <a:gd name="connsiteX17" fmla="*/ 0 w 7632701"/>
              <a:gd name="connsiteY17" fmla="*/ 768424 h 5774928"/>
              <a:gd name="connsiteX18" fmla="*/ 7632701 w 7632701"/>
              <a:gd name="connsiteY18" fmla="*/ 0 h 5774928"/>
              <a:gd name="connsiteX19" fmla="*/ 7632701 w 7632701"/>
              <a:gd name="connsiteY19" fmla="*/ 3341551 h 5774928"/>
              <a:gd name="connsiteX20" fmla="*/ 7632701 w 7632701"/>
              <a:gd name="connsiteY20" fmla="*/ 4991463 h 5774928"/>
              <a:gd name="connsiteX21" fmla="*/ 7632701 w 7632701"/>
              <a:gd name="connsiteY21" fmla="*/ 5006504 h 5774928"/>
              <a:gd name="connsiteX22" fmla="*/ 0 w 7632701"/>
              <a:gd name="connsiteY22" fmla="*/ 5774928 h 5774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7632701" h="5774928">
                <a:moveTo>
                  <a:pt x="0" y="5774928"/>
                </a:moveTo>
                <a:lnTo>
                  <a:pt x="0" y="5759887"/>
                </a:lnTo>
                <a:lnTo>
                  <a:pt x="0" y="5699537"/>
                </a:lnTo>
                <a:lnTo>
                  <a:pt x="0" y="5559808"/>
                </a:lnTo>
                <a:lnTo>
                  <a:pt x="0" y="5451748"/>
                </a:lnTo>
                <a:lnTo>
                  <a:pt x="0" y="5393110"/>
                </a:lnTo>
                <a:lnTo>
                  <a:pt x="0" y="5285049"/>
                </a:lnTo>
                <a:lnTo>
                  <a:pt x="0" y="5137540"/>
                </a:lnTo>
                <a:lnTo>
                  <a:pt x="0" y="4109975"/>
                </a:lnTo>
                <a:lnTo>
                  <a:pt x="0" y="3487628"/>
                </a:lnTo>
                <a:lnTo>
                  <a:pt x="0" y="3241878"/>
                </a:lnTo>
                <a:lnTo>
                  <a:pt x="0" y="2832822"/>
                </a:lnTo>
                <a:lnTo>
                  <a:pt x="0" y="2526396"/>
                </a:lnTo>
                <a:lnTo>
                  <a:pt x="0" y="2418336"/>
                </a:lnTo>
                <a:lnTo>
                  <a:pt x="0" y="1591966"/>
                </a:lnTo>
                <a:lnTo>
                  <a:pt x="0" y="1182910"/>
                </a:lnTo>
                <a:lnTo>
                  <a:pt x="0" y="876483"/>
                </a:lnTo>
                <a:lnTo>
                  <a:pt x="0" y="768424"/>
                </a:lnTo>
                <a:lnTo>
                  <a:pt x="7632701" y="0"/>
                </a:lnTo>
                <a:lnTo>
                  <a:pt x="7632701" y="3341551"/>
                </a:lnTo>
                <a:lnTo>
                  <a:pt x="7632701" y="4991463"/>
                </a:lnTo>
                <a:lnTo>
                  <a:pt x="7632701" y="5006504"/>
                </a:lnTo>
                <a:lnTo>
                  <a:pt x="0" y="5774928"/>
                </a:lnTo>
                <a:close/>
              </a:path>
            </a:pathLst>
          </a:cu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0" name="Text Placeholder 61">
            <a:extLst>
              <a:ext uri="{FF2B5EF4-FFF2-40B4-BE49-F238E27FC236}">
                <a16:creationId xmlns:a16="http://schemas.microsoft.com/office/drawing/2014/main" id="{2D02F780-5912-428A-9BD7-0A3D8102FA5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78999" y="589506"/>
            <a:ext cx="1216800" cy="1216800"/>
          </a:xfrm>
          <a:prstGeom prst="ellipse">
            <a:avLst/>
          </a:prstGeom>
          <a:solidFill>
            <a:srgbClr val="FFC000"/>
          </a:solidFill>
        </p:spPr>
        <p:txBody>
          <a:bodyPr lIns="36000" tIns="36000" rIns="36000" bIns="36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31" name="Text Placeholder 34">
            <a:extLst>
              <a:ext uri="{FF2B5EF4-FFF2-40B4-BE49-F238E27FC236}">
                <a16:creationId xmlns:a16="http://schemas.microsoft.com/office/drawing/2014/main" id="{F68C68D2-6AA1-4354-AC6D-4CF0689386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3725" y="1897317"/>
            <a:ext cx="3384550" cy="385034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32" name="Text Placeholder 34">
            <a:extLst>
              <a:ext uri="{FF2B5EF4-FFF2-40B4-BE49-F238E27FC236}">
                <a16:creationId xmlns:a16="http://schemas.microsoft.com/office/drawing/2014/main" id="{B2627D31-BA2B-49B5-A7EB-39B12E2328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89468" y="1897317"/>
            <a:ext cx="3335770" cy="385034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56277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87">
          <p15:clr>
            <a:srgbClr val="F26B43"/>
          </p15:clr>
        </p15:guide>
        <p15:guide id="2" pos="4906" userDrawn="1">
          <p15:clr>
            <a:srgbClr val="F26B43"/>
          </p15:clr>
        </p15:guide>
        <p15:guide id="3" pos="2774" userDrawn="1">
          <p15:clr>
            <a:srgbClr val="F26B43"/>
          </p15:clr>
        </p15:guide>
        <p15:guide id="4" orient="horz" pos="1185" userDrawn="1">
          <p15:clr>
            <a:srgbClr val="F26B43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// Bild ist f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2280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4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CCECD96-025F-4254-A650-7789F60826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4898"/>
          </a:xfrm>
          <a:prstGeom prst="rect">
            <a:avLst/>
          </a:prstGeom>
        </p:spPr>
      </p:pic>
      <p:sp>
        <p:nvSpPr>
          <p:cNvPr id="12" name="Freihandform: Form 14">
            <a:extLst>
              <a:ext uri="{FF2B5EF4-FFF2-40B4-BE49-F238E27FC236}">
                <a16:creationId xmlns:a16="http://schemas.microsoft.com/office/drawing/2014/main" id="{43E90D63-03AB-4F95-A0CD-C046E265DBDA}"/>
              </a:ext>
            </a:extLst>
          </p:cNvPr>
          <p:cNvSpPr/>
          <p:nvPr userDrawn="1"/>
        </p:nvSpPr>
        <p:spPr>
          <a:xfrm>
            <a:off x="-1" y="3392488"/>
            <a:ext cx="12203429" cy="3465512"/>
          </a:xfrm>
          <a:custGeom>
            <a:avLst/>
            <a:gdLst>
              <a:gd name="connsiteX0" fmla="*/ 12203429 w 12203429"/>
              <a:gd name="connsiteY0" fmla="*/ 0 h 3465512"/>
              <a:gd name="connsiteX1" fmla="*/ 12203429 w 12203429"/>
              <a:gd name="connsiteY1" fmla="*/ 537210 h 3465512"/>
              <a:gd name="connsiteX2" fmla="*/ 12203429 w 12203429"/>
              <a:gd name="connsiteY2" fmla="*/ 3465512 h 3465512"/>
              <a:gd name="connsiteX3" fmla="*/ 0 w 12203429"/>
              <a:gd name="connsiteY3" fmla="*/ 3465512 h 3465512"/>
              <a:gd name="connsiteX4" fmla="*/ 0 w 12203429"/>
              <a:gd name="connsiteY4" fmla="*/ 2438057 h 3465512"/>
              <a:gd name="connsiteX5" fmla="*/ 0 w 12203429"/>
              <a:gd name="connsiteY5" fmla="*/ 1900847 h 3465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03429" h="3465512">
                <a:moveTo>
                  <a:pt x="12203429" y="0"/>
                </a:moveTo>
                <a:lnTo>
                  <a:pt x="12203429" y="537210"/>
                </a:lnTo>
                <a:lnTo>
                  <a:pt x="12203429" y="3465512"/>
                </a:lnTo>
                <a:lnTo>
                  <a:pt x="0" y="3465512"/>
                </a:lnTo>
                <a:lnTo>
                  <a:pt x="0" y="2438057"/>
                </a:lnTo>
                <a:lnTo>
                  <a:pt x="0" y="1900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13" name="Freeform 16">
            <a:extLst>
              <a:ext uri="{FF2B5EF4-FFF2-40B4-BE49-F238E27FC236}">
                <a16:creationId xmlns:a16="http://schemas.microsoft.com/office/drawing/2014/main" id="{23E87A98-CC42-4FAA-ACC3-90AA4ECAB8ED}"/>
              </a:ext>
            </a:extLst>
          </p:cNvPr>
          <p:cNvSpPr/>
          <p:nvPr userDrawn="1"/>
        </p:nvSpPr>
        <p:spPr>
          <a:xfrm>
            <a:off x="8766524" y="4206239"/>
            <a:ext cx="3194306" cy="2648659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14" name="Grafik 7">
            <a:extLst>
              <a:ext uri="{FF2B5EF4-FFF2-40B4-BE49-F238E27FC236}">
                <a16:creationId xmlns:a16="http://schemas.microsoft.com/office/drawing/2014/main" id="{01BA83C3-FD58-4EB6-988A-9DE1D8D9518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784" y="6092936"/>
            <a:ext cx="2433209" cy="407523"/>
          </a:xfrm>
          <a:prstGeom prst="rect">
            <a:avLst/>
          </a:prstGeom>
        </p:spPr>
      </p:pic>
      <p:sp>
        <p:nvSpPr>
          <p:cNvPr id="15" name="Rechteck 9">
            <a:extLst>
              <a:ext uri="{FF2B5EF4-FFF2-40B4-BE49-F238E27FC236}">
                <a16:creationId xmlns:a16="http://schemas.microsoft.com/office/drawing/2014/main" id="{4F314B62-78C1-467E-935B-9DC461C1F902}"/>
              </a:ext>
            </a:extLst>
          </p:cNvPr>
          <p:cNvSpPr/>
          <p:nvPr userDrawn="1"/>
        </p:nvSpPr>
        <p:spPr>
          <a:xfrm>
            <a:off x="7878751" y="5344922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Regular"/>
            </a:endParaRPr>
          </a:p>
          <a:p>
            <a:pPr lvl="0" defTabSz="914400">
              <a:defRPr/>
            </a:pPr>
            <a:r>
              <a:rPr lang="de-DE" sz="1600" kern="0" dirty="0">
                <a:solidFill>
                  <a:schemeClr val="bg1"/>
                </a:solidFill>
                <a:latin typeface="Arial Regular"/>
              </a:rPr>
              <a:t>Tel.: 08561 300 68 - 0</a:t>
            </a:r>
            <a:br>
              <a:rPr lang="de-DE" sz="1600" kern="0" dirty="0">
                <a:solidFill>
                  <a:schemeClr val="bg1"/>
                </a:solidFill>
                <a:latin typeface="Arial Regular"/>
              </a:rPr>
            </a:br>
            <a:r>
              <a:rPr lang="de-DE" sz="1600" kern="0" dirty="0">
                <a:solidFill>
                  <a:schemeClr val="bg1"/>
                </a:solidFill>
                <a:latin typeface="Arial Regular"/>
              </a:rPr>
              <a:t>E-Mail: </a:t>
            </a:r>
            <a:r>
              <a:rPr lang="de-DE" sz="1600" kern="0" dirty="0" err="1">
                <a:solidFill>
                  <a:schemeClr val="bg1"/>
                </a:solidFill>
                <a:latin typeface="Arial Regular"/>
              </a:rPr>
              <a:t>info@nextfarming.de</a:t>
            </a:r>
            <a:endParaRPr lang="de-DE" sz="1600" kern="0" dirty="0">
              <a:solidFill>
                <a:schemeClr val="bg1"/>
              </a:solidFill>
              <a:latin typeface="Arial Regular"/>
            </a:endParaRPr>
          </a:p>
          <a:p>
            <a:pPr lvl="0" defTabSz="914400"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Regular"/>
            </a:endParaRPr>
          </a:p>
        </p:txBody>
      </p:sp>
      <p:sp>
        <p:nvSpPr>
          <p:cNvPr id="17" name="Rechteck 9">
            <a:extLst>
              <a:ext uri="{FF2B5EF4-FFF2-40B4-BE49-F238E27FC236}">
                <a16:creationId xmlns:a16="http://schemas.microsoft.com/office/drawing/2014/main" id="{24D6C36E-70EA-4A57-873C-7F5B15BB75FE}"/>
              </a:ext>
            </a:extLst>
          </p:cNvPr>
          <p:cNvSpPr/>
          <p:nvPr userDrawn="1"/>
        </p:nvSpPr>
        <p:spPr>
          <a:xfrm>
            <a:off x="7878751" y="4673494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r>
              <a:rPr lang="de-DE" sz="1600" kern="0" dirty="0">
                <a:solidFill>
                  <a:schemeClr val="bg1"/>
                </a:solidFill>
                <a:latin typeface="Arial Regular"/>
              </a:rPr>
              <a:t>Rennbahnstraße 9</a:t>
            </a:r>
            <a:br>
              <a:rPr lang="de-DE" sz="1600" kern="0" dirty="0">
                <a:solidFill>
                  <a:schemeClr val="bg1"/>
                </a:solidFill>
                <a:latin typeface="Arial Regular"/>
              </a:rPr>
            </a:br>
            <a:r>
              <a:rPr lang="de-DE" sz="1600" kern="0" dirty="0">
                <a:solidFill>
                  <a:schemeClr val="bg1"/>
                </a:solidFill>
                <a:latin typeface="Arial Regular"/>
              </a:rPr>
              <a:t>84347 Pfarrkirchen</a:t>
            </a:r>
          </a:p>
        </p:txBody>
      </p:sp>
      <p:sp>
        <p:nvSpPr>
          <p:cNvPr id="18" name="Rechteck 9">
            <a:extLst>
              <a:ext uri="{FF2B5EF4-FFF2-40B4-BE49-F238E27FC236}">
                <a16:creationId xmlns:a16="http://schemas.microsoft.com/office/drawing/2014/main" id="{826C7656-9D82-4B14-992A-49BBA6F819EC}"/>
              </a:ext>
            </a:extLst>
          </p:cNvPr>
          <p:cNvSpPr/>
          <p:nvPr userDrawn="1"/>
        </p:nvSpPr>
        <p:spPr>
          <a:xfrm>
            <a:off x="7890780" y="5899102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 Regular"/>
            </a:endParaRPr>
          </a:p>
          <a:p>
            <a:pPr lvl="0" defTabSz="914400">
              <a:defRPr/>
            </a:pPr>
            <a:r>
              <a:rPr lang="de-DE" sz="1600" kern="0" dirty="0" err="1">
                <a:solidFill>
                  <a:schemeClr val="accent1"/>
                </a:solidFill>
                <a:latin typeface="Arial Regular"/>
              </a:rPr>
              <a:t>nextfarming.de</a:t>
            </a:r>
            <a:endParaRPr lang="de-DE" sz="1600" kern="0" dirty="0">
              <a:solidFill>
                <a:schemeClr val="accent1"/>
              </a:solidFill>
              <a:latin typeface="Arial Regular"/>
            </a:endParaRPr>
          </a:p>
          <a:p>
            <a:pPr lvl="0" defTabSz="914400"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 Regular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2187806"/>
            <a:ext cx="9224588" cy="1846659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40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br>
              <a:rPr lang="de-DE" dirty="0"/>
            </a:br>
            <a:r>
              <a:rPr lang="de-DE" dirty="0"/>
              <a:t>title style</a:t>
            </a:r>
          </a:p>
        </p:txBody>
      </p:sp>
    </p:spTree>
    <p:extLst>
      <p:ext uri="{BB962C8B-B14F-4D97-AF65-F5344CB8AC3E}">
        <p14:creationId xmlns:p14="http://schemas.microsoft.com/office/powerpoint/2010/main" val="24015382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2" pos="483" userDrawn="1">
          <p15:clr>
            <a:srgbClr val="A4A3A4"/>
          </p15:clr>
        </p15:guide>
        <p15:guide id="3" orient="horz" pos="754" userDrawn="1">
          <p15:clr>
            <a:srgbClr val="A4A3A4"/>
          </p15:clr>
        </p15:guide>
        <p15:guide id="4" orient="horz" pos="640" userDrawn="1">
          <p15:clr>
            <a:srgbClr val="A4A3A4"/>
          </p15:clr>
        </p15:guide>
        <p15:guide id="5" orient="horz" pos="210" userDrawn="1">
          <p15:clr>
            <a:srgbClr val="A4A3A4"/>
          </p15:clr>
        </p15:guide>
        <p15:guide id="6" orient="horz" pos="4065" userDrawn="1">
          <p15:clr>
            <a:srgbClr val="A4A3A4"/>
          </p15:clr>
        </p15:guide>
        <p15:guide id="7" pos="7197" userDrawn="1">
          <p15:clr>
            <a:srgbClr val="A4A3A4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// Bildplatzhalt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8584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4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09D9D87E-83CD-4F57-91C0-AB038C6D268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415088" cy="6858000"/>
          </a:xfrm>
          <a:custGeom>
            <a:avLst/>
            <a:gdLst>
              <a:gd name="connsiteX0" fmla="*/ 0 w 9415088"/>
              <a:gd name="connsiteY0" fmla="*/ 0 h 6858000"/>
              <a:gd name="connsiteX1" fmla="*/ 9415088 w 9415088"/>
              <a:gd name="connsiteY1" fmla="*/ 0 h 6858000"/>
              <a:gd name="connsiteX2" fmla="*/ 6217151 w 9415088"/>
              <a:gd name="connsiteY2" fmla="*/ 6858000 h 6858000"/>
              <a:gd name="connsiteX3" fmla="*/ 0 w 941508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15088" h="6858000">
                <a:moveTo>
                  <a:pt x="0" y="0"/>
                </a:moveTo>
                <a:lnTo>
                  <a:pt x="9415088" y="0"/>
                </a:lnTo>
                <a:lnTo>
                  <a:pt x="621715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20" name="Freeform 16">
            <a:extLst>
              <a:ext uri="{FF2B5EF4-FFF2-40B4-BE49-F238E27FC236}">
                <a16:creationId xmlns:a16="http://schemas.microsoft.com/office/drawing/2014/main" id="{39A11E70-DAD7-40D1-B416-A9A3AE091DAF}"/>
              </a:ext>
            </a:extLst>
          </p:cNvPr>
          <p:cNvSpPr/>
          <p:nvPr userDrawn="1"/>
        </p:nvSpPr>
        <p:spPr>
          <a:xfrm>
            <a:off x="8766524" y="4206239"/>
            <a:ext cx="3194306" cy="2648659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tx1"/>
              </a:solidFill>
            </a:endParaRPr>
          </a:p>
        </p:txBody>
      </p:sp>
      <p:sp>
        <p:nvSpPr>
          <p:cNvPr id="21" name="Rechteck 9">
            <a:extLst>
              <a:ext uri="{FF2B5EF4-FFF2-40B4-BE49-F238E27FC236}">
                <a16:creationId xmlns:a16="http://schemas.microsoft.com/office/drawing/2014/main" id="{B5143025-2493-4286-B28D-5D316F4CC15F}"/>
              </a:ext>
            </a:extLst>
          </p:cNvPr>
          <p:cNvSpPr/>
          <p:nvPr userDrawn="1"/>
        </p:nvSpPr>
        <p:spPr>
          <a:xfrm>
            <a:off x="7878751" y="5344922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Regular"/>
            </a:endParaRPr>
          </a:p>
          <a:p>
            <a:pPr lvl="0" defTabSz="914400">
              <a:defRPr/>
            </a:pPr>
            <a:r>
              <a:rPr lang="de-DE" sz="1600" kern="0" dirty="0">
                <a:solidFill>
                  <a:schemeClr val="tx1"/>
                </a:solidFill>
                <a:latin typeface="Arial Regular"/>
              </a:rPr>
              <a:t>Tel.: 08561 300 68 - 0</a:t>
            </a:r>
            <a:br>
              <a:rPr lang="de-DE" sz="1600" kern="0" dirty="0">
                <a:solidFill>
                  <a:schemeClr val="tx1"/>
                </a:solidFill>
                <a:latin typeface="Arial Regular"/>
              </a:rPr>
            </a:br>
            <a:r>
              <a:rPr lang="de-DE" sz="1600" kern="0" dirty="0">
                <a:solidFill>
                  <a:schemeClr val="tx1"/>
                </a:solidFill>
                <a:latin typeface="Arial Regular"/>
              </a:rPr>
              <a:t>E-Mail: </a:t>
            </a:r>
            <a:r>
              <a:rPr lang="de-DE" sz="1600" kern="0" dirty="0" err="1">
                <a:solidFill>
                  <a:schemeClr val="tx1"/>
                </a:solidFill>
                <a:latin typeface="Arial Regular"/>
              </a:rPr>
              <a:t>info@nextfarming.de</a:t>
            </a:r>
            <a:endParaRPr lang="de-DE" sz="1600" kern="0" dirty="0">
              <a:solidFill>
                <a:schemeClr val="tx1"/>
              </a:solidFill>
              <a:latin typeface="Arial Regular"/>
            </a:endParaRPr>
          </a:p>
          <a:p>
            <a:pPr lvl="0" defTabSz="914400"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Regular"/>
            </a:endParaRPr>
          </a:p>
        </p:txBody>
      </p:sp>
      <p:sp>
        <p:nvSpPr>
          <p:cNvPr id="22" name="Rechteck 9">
            <a:extLst>
              <a:ext uri="{FF2B5EF4-FFF2-40B4-BE49-F238E27FC236}">
                <a16:creationId xmlns:a16="http://schemas.microsoft.com/office/drawing/2014/main" id="{73C0424B-5F9D-49C6-9DFD-78AE93DFFC19}"/>
              </a:ext>
            </a:extLst>
          </p:cNvPr>
          <p:cNvSpPr/>
          <p:nvPr userDrawn="1"/>
        </p:nvSpPr>
        <p:spPr>
          <a:xfrm>
            <a:off x="7878751" y="4673494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r>
              <a:rPr lang="de-DE" sz="1600" kern="0" dirty="0">
                <a:solidFill>
                  <a:schemeClr val="tx1"/>
                </a:solidFill>
                <a:latin typeface="Arial Regular"/>
              </a:rPr>
              <a:t>Rennbahnstraße 9</a:t>
            </a:r>
            <a:br>
              <a:rPr lang="de-DE" sz="1600" kern="0" dirty="0">
                <a:solidFill>
                  <a:schemeClr val="tx1"/>
                </a:solidFill>
                <a:latin typeface="Arial Regular"/>
              </a:rPr>
            </a:br>
            <a:r>
              <a:rPr lang="de-DE" sz="1600" kern="0" dirty="0">
                <a:solidFill>
                  <a:schemeClr val="tx1"/>
                </a:solidFill>
                <a:latin typeface="Arial Regular"/>
              </a:rPr>
              <a:t>84347 Pfarrkirchen</a:t>
            </a:r>
          </a:p>
        </p:txBody>
      </p:sp>
      <p:sp>
        <p:nvSpPr>
          <p:cNvPr id="23" name="Rechteck 9">
            <a:extLst>
              <a:ext uri="{FF2B5EF4-FFF2-40B4-BE49-F238E27FC236}">
                <a16:creationId xmlns:a16="http://schemas.microsoft.com/office/drawing/2014/main" id="{6F212A99-82CE-43A9-BBB0-69DA270EB569}"/>
              </a:ext>
            </a:extLst>
          </p:cNvPr>
          <p:cNvSpPr/>
          <p:nvPr userDrawn="1"/>
        </p:nvSpPr>
        <p:spPr>
          <a:xfrm>
            <a:off x="7890780" y="5899102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 Regular"/>
            </a:endParaRPr>
          </a:p>
          <a:p>
            <a:pPr lvl="0" defTabSz="914400">
              <a:defRPr/>
            </a:pPr>
            <a:r>
              <a:rPr lang="de-DE" sz="1600" kern="0" dirty="0" err="1">
                <a:solidFill>
                  <a:schemeClr val="accent1"/>
                </a:solidFill>
                <a:latin typeface="Arial Regular"/>
              </a:rPr>
              <a:t>nextfarming.de</a:t>
            </a:r>
            <a:endParaRPr lang="de-DE" sz="1600" kern="0" dirty="0">
              <a:solidFill>
                <a:schemeClr val="accent1"/>
              </a:solidFill>
              <a:latin typeface="Arial Regular"/>
            </a:endParaRPr>
          </a:p>
          <a:p>
            <a:pPr lvl="0" defTabSz="914400"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 Regular"/>
            </a:endParaRPr>
          </a:p>
        </p:txBody>
      </p:sp>
      <p:pic>
        <p:nvPicPr>
          <p:cNvPr id="24" name="Grafik 7">
            <a:extLst>
              <a:ext uri="{FF2B5EF4-FFF2-40B4-BE49-F238E27FC236}">
                <a16:creationId xmlns:a16="http://schemas.microsoft.com/office/drawing/2014/main" id="{9E1E5A2C-E031-4C09-A410-64D0BD36410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7663" y="4014254"/>
            <a:ext cx="3349625" cy="561008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3920499"/>
            <a:ext cx="5814432" cy="1846659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4000" b="1" kern="600" spc="40" baseline="0">
                <a:solidFill>
                  <a:schemeClr val="tx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br>
              <a:rPr lang="de-DE" dirty="0"/>
            </a:br>
            <a:r>
              <a:rPr lang="de-DE" dirty="0"/>
              <a:t>title style</a:t>
            </a:r>
          </a:p>
        </p:txBody>
      </p:sp>
    </p:spTree>
    <p:extLst>
      <p:ext uri="{BB962C8B-B14F-4D97-AF65-F5344CB8AC3E}">
        <p14:creationId xmlns:p14="http://schemas.microsoft.com/office/powerpoint/2010/main" val="1448335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2" pos="483" userDrawn="1">
          <p15:clr>
            <a:srgbClr val="A4A3A4"/>
          </p15:clr>
        </p15:guide>
        <p15:guide id="3" orient="horz" pos="754" userDrawn="1">
          <p15:clr>
            <a:srgbClr val="A4A3A4"/>
          </p15:clr>
        </p15:guide>
        <p15:guide id="4" orient="horz" pos="640" userDrawn="1">
          <p15:clr>
            <a:srgbClr val="A4A3A4"/>
          </p15:clr>
        </p15:guide>
        <p15:guide id="5" orient="horz" pos="210" userDrawn="1">
          <p15:clr>
            <a:srgbClr val="A4A3A4"/>
          </p15:clr>
        </p15:guide>
        <p15:guide id="6" orient="horz" pos="4065" userDrawn="1">
          <p15:clr>
            <a:srgbClr val="A4A3A4"/>
          </p15:clr>
        </p15:guide>
        <p15:guide id="7" pos="7197" userDrawn="1">
          <p15:clr>
            <a:srgbClr val="A4A3A4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CHWARZ links // Bildplatzhalt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de-DE" sz="3200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A7EB04B2-B630-41B2-AFB3-553D6397A80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222241" y="0"/>
            <a:ext cx="6969759" cy="6858000"/>
          </a:xfrm>
          <a:custGeom>
            <a:avLst/>
            <a:gdLst>
              <a:gd name="connsiteX0" fmla="*/ 0 w 6969759"/>
              <a:gd name="connsiteY0" fmla="*/ 0 h 6858000"/>
              <a:gd name="connsiteX1" fmla="*/ 6969759 w 6969759"/>
              <a:gd name="connsiteY1" fmla="*/ 0 h 6858000"/>
              <a:gd name="connsiteX2" fmla="*/ 6969759 w 6969759"/>
              <a:gd name="connsiteY2" fmla="*/ 6858000 h 6858000"/>
              <a:gd name="connsiteX3" fmla="*/ 508945 w 6969759"/>
              <a:gd name="connsiteY3" fmla="*/ 6858000 h 6858000"/>
              <a:gd name="connsiteX4" fmla="*/ 3706883 w 6969759"/>
              <a:gd name="connsiteY4" fmla="*/ 1 h 6858000"/>
              <a:gd name="connsiteX5" fmla="*/ 833898 w 6969759"/>
              <a:gd name="connsiteY5" fmla="*/ 1 h 6858000"/>
              <a:gd name="connsiteX6" fmla="*/ 833897 w 6969759"/>
              <a:gd name="connsiteY6" fmla="*/ 4 h 6858000"/>
              <a:gd name="connsiteX7" fmla="*/ 0 w 6969759"/>
              <a:gd name="connsiteY7" fmla="*/ 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69759" h="6858000">
                <a:moveTo>
                  <a:pt x="0" y="0"/>
                </a:moveTo>
                <a:lnTo>
                  <a:pt x="6969759" y="0"/>
                </a:lnTo>
                <a:lnTo>
                  <a:pt x="6969759" y="6858000"/>
                </a:lnTo>
                <a:lnTo>
                  <a:pt x="508945" y="6858000"/>
                </a:lnTo>
                <a:lnTo>
                  <a:pt x="3706883" y="1"/>
                </a:lnTo>
                <a:lnTo>
                  <a:pt x="833898" y="1"/>
                </a:lnTo>
                <a:lnTo>
                  <a:pt x="833897" y="4"/>
                </a:lnTo>
                <a:lnTo>
                  <a:pt x="0" y="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7" name="Freeform 20">
            <a:extLst>
              <a:ext uri="{FF2B5EF4-FFF2-40B4-BE49-F238E27FC236}">
                <a16:creationId xmlns:a16="http://schemas.microsoft.com/office/drawing/2014/main" id="{20143032-539B-475F-916F-D6751F8BCF55}"/>
              </a:ext>
            </a:extLst>
          </p:cNvPr>
          <p:cNvSpPr/>
          <p:nvPr userDrawn="1"/>
        </p:nvSpPr>
        <p:spPr>
          <a:xfrm>
            <a:off x="23446" y="4782085"/>
            <a:ext cx="2503570" cy="2075914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rgbClr val="FFFFFF"/>
              </a:solidFill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F7F2D2A-67E7-48AB-9757-E47BE416C04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973" y="5869536"/>
            <a:ext cx="3175725" cy="531882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2187806"/>
            <a:ext cx="6050183" cy="984885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32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6F3D174-89D1-411B-90BD-5D8D57671A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1" y="3652838"/>
            <a:ext cx="9212849" cy="738664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066424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2" pos="483">
          <p15:clr>
            <a:srgbClr val="A4A3A4"/>
          </p15:clr>
        </p15:guide>
        <p15:guide id="3" orient="horz" pos="754">
          <p15:clr>
            <a:srgbClr val="A4A3A4"/>
          </p15:clr>
        </p15:guide>
        <p15:guide id="4" orient="horz" pos="640">
          <p15:clr>
            <a:srgbClr val="A4A3A4"/>
          </p15:clr>
        </p15:guide>
        <p15:guide id="5" orient="horz" pos="210">
          <p15:clr>
            <a:srgbClr val="A4A3A4"/>
          </p15:clr>
        </p15:guide>
        <p15:guide id="6" orient="horz" pos="4065">
          <p15:clr>
            <a:srgbClr val="A4A3A4"/>
          </p15:clr>
        </p15:guide>
        <p15:guide id="7" pos="7197">
          <p15:clr>
            <a:srgbClr val="A4A3A4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links // Bild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5">
            <a:extLst>
              <a:ext uri="{FF2B5EF4-FFF2-40B4-BE49-F238E27FC236}">
                <a16:creationId xmlns:a16="http://schemas.microsoft.com/office/drawing/2014/main" id="{7258EA99-7DAC-3E40-9C09-6999BF263A6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222241" y="0"/>
            <a:ext cx="6969759" cy="6858000"/>
          </a:xfrm>
          <a:custGeom>
            <a:avLst/>
            <a:gdLst>
              <a:gd name="connsiteX0" fmla="*/ 0 w 6969759"/>
              <a:gd name="connsiteY0" fmla="*/ 0 h 6858000"/>
              <a:gd name="connsiteX1" fmla="*/ 6969759 w 6969759"/>
              <a:gd name="connsiteY1" fmla="*/ 0 h 6858000"/>
              <a:gd name="connsiteX2" fmla="*/ 6969759 w 6969759"/>
              <a:gd name="connsiteY2" fmla="*/ 6858000 h 6858000"/>
              <a:gd name="connsiteX3" fmla="*/ 508945 w 6969759"/>
              <a:gd name="connsiteY3" fmla="*/ 6858000 h 6858000"/>
              <a:gd name="connsiteX4" fmla="*/ 3706883 w 6969759"/>
              <a:gd name="connsiteY4" fmla="*/ 1 h 6858000"/>
              <a:gd name="connsiteX5" fmla="*/ 833898 w 6969759"/>
              <a:gd name="connsiteY5" fmla="*/ 1 h 6858000"/>
              <a:gd name="connsiteX6" fmla="*/ 833897 w 6969759"/>
              <a:gd name="connsiteY6" fmla="*/ 4 h 6858000"/>
              <a:gd name="connsiteX7" fmla="*/ 0 w 6969759"/>
              <a:gd name="connsiteY7" fmla="*/ 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69759" h="6858000">
                <a:moveTo>
                  <a:pt x="0" y="0"/>
                </a:moveTo>
                <a:lnTo>
                  <a:pt x="6969759" y="0"/>
                </a:lnTo>
                <a:lnTo>
                  <a:pt x="6969759" y="6858000"/>
                </a:lnTo>
                <a:lnTo>
                  <a:pt x="508945" y="6858000"/>
                </a:lnTo>
                <a:lnTo>
                  <a:pt x="3706883" y="1"/>
                </a:lnTo>
                <a:lnTo>
                  <a:pt x="833898" y="1"/>
                </a:lnTo>
                <a:lnTo>
                  <a:pt x="833897" y="4"/>
                </a:lnTo>
                <a:lnTo>
                  <a:pt x="0" y="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7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de-DE" sz="3200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6" name="Freihandform: Form 23">
            <a:extLst>
              <a:ext uri="{FF2B5EF4-FFF2-40B4-BE49-F238E27FC236}">
                <a16:creationId xmlns:a16="http://schemas.microsoft.com/office/drawing/2014/main" id="{D17C017F-76C8-4520-8E7D-038F187A2379}"/>
              </a:ext>
            </a:extLst>
          </p:cNvPr>
          <p:cNvSpPr/>
          <p:nvPr userDrawn="1"/>
        </p:nvSpPr>
        <p:spPr>
          <a:xfrm rot="5400000" flipH="1">
            <a:off x="1035562" y="-1035561"/>
            <a:ext cx="6858000" cy="8929123"/>
          </a:xfrm>
          <a:custGeom>
            <a:avLst/>
            <a:gdLst>
              <a:gd name="connsiteX0" fmla="*/ 6858000 w 6858000"/>
              <a:gd name="connsiteY0" fmla="*/ 2872985 h 8929123"/>
              <a:gd name="connsiteX1" fmla="*/ 6858000 w 6858000"/>
              <a:gd name="connsiteY1" fmla="*/ 0 h 8929123"/>
              <a:gd name="connsiteX2" fmla="*/ 0 w 6858000"/>
              <a:gd name="connsiteY2" fmla="*/ 3197938 h 8929123"/>
              <a:gd name="connsiteX3" fmla="*/ 0 w 6858000"/>
              <a:gd name="connsiteY3" fmla="*/ 8929123 h 8929123"/>
              <a:gd name="connsiteX4" fmla="*/ 6857997 w 6858000"/>
              <a:gd name="connsiteY4" fmla="*/ 8929123 h 8929123"/>
              <a:gd name="connsiteX5" fmla="*/ 6857997 w 6858000"/>
              <a:gd name="connsiteY5" fmla="*/ 2872986 h 8929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58000" h="8929123">
                <a:moveTo>
                  <a:pt x="6858000" y="2872985"/>
                </a:moveTo>
                <a:lnTo>
                  <a:pt x="6858000" y="0"/>
                </a:lnTo>
                <a:lnTo>
                  <a:pt x="0" y="3197938"/>
                </a:lnTo>
                <a:lnTo>
                  <a:pt x="0" y="8929123"/>
                </a:lnTo>
                <a:lnTo>
                  <a:pt x="6857997" y="8929123"/>
                </a:lnTo>
                <a:lnTo>
                  <a:pt x="6857997" y="2872986"/>
                </a:lnTo>
                <a:close/>
              </a:path>
            </a:pathLst>
          </a:cu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277EBB7D-F249-4E77-9B9C-BD9DBD49E7EB}"/>
              </a:ext>
            </a:extLst>
          </p:cNvPr>
          <p:cNvSpPr/>
          <p:nvPr userDrawn="1"/>
        </p:nvSpPr>
        <p:spPr>
          <a:xfrm>
            <a:off x="23446" y="4782085"/>
            <a:ext cx="2503570" cy="2075914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92C11B">
              <a:alpha val="41961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rgbClr val="FFFFFF"/>
              </a:solidFill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2187806"/>
            <a:ext cx="6050183" cy="984885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32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6F3D174-89D1-411B-90BD-5D8D57671A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1" y="3652838"/>
            <a:ext cx="9212849" cy="738664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14" name="Grafik 7">
            <a:extLst>
              <a:ext uri="{FF2B5EF4-FFF2-40B4-BE49-F238E27FC236}">
                <a16:creationId xmlns:a16="http://schemas.microsoft.com/office/drawing/2014/main" id="{91C20983-4BB4-481B-8202-F63F178E34B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973" y="5869536"/>
            <a:ext cx="3175725" cy="531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75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2" pos="483">
          <p15:clr>
            <a:srgbClr val="A4A3A4"/>
          </p15:clr>
        </p15:guide>
        <p15:guide id="3" orient="horz" pos="754">
          <p15:clr>
            <a:srgbClr val="A4A3A4"/>
          </p15:clr>
        </p15:guide>
        <p15:guide id="4" orient="horz" pos="640">
          <p15:clr>
            <a:srgbClr val="A4A3A4"/>
          </p15:clr>
        </p15:guide>
        <p15:guide id="5" orient="horz" pos="210">
          <p15:clr>
            <a:srgbClr val="A4A3A4"/>
          </p15:clr>
        </p15:guide>
        <p15:guide id="6" orient="horz" pos="4065">
          <p15:clr>
            <a:srgbClr val="A4A3A4"/>
          </p15:clr>
        </p15:guide>
        <p15:guide id="7" pos="7197">
          <p15:clr>
            <a:srgbClr val="A4A3A4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links // Bild f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de-DE" sz="3200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ADA371A-43BB-4A0E-AC24-3821A653AD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06475" y="-1"/>
            <a:ext cx="8189789" cy="6858001"/>
          </a:xfrm>
          <a:prstGeom prst="rect">
            <a:avLst/>
          </a:prstGeom>
        </p:spPr>
      </p:pic>
      <p:sp>
        <p:nvSpPr>
          <p:cNvPr id="6" name="Freihandform: Form 23">
            <a:extLst>
              <a:ext uri="{FF2B5EF4-FFF2-40B4-BE49-F238E27FC236}">
                <a16:creationId xmlns:a16="http://schemas.microsoft.com/office/drawing/2014/main" id="{D17C017F-76C8-4520-8E7D-038F187A2379}"/>
              </a:ext>
            </a:extLst>
          </p:cNvPr>
          <p:cNvSpPr/>
          <p:nvPr userDrawn="1"/>
        </p:nvSpPr>
        <p:spPr>
          <a:xfrm rot="5400000" flipH="1">
            <a:off x="1035562" y="-1035561"/>
            <a:ext cx="6858000" cy="8929123"/>
          </a:xfrm>
          <a:custGeom>
            <a:avLst/>
            <a:gdLst>
              <a:gd name="connsiteX0" fmla="*/ 6858000 w 6858000"/>
              <a:gd name="connsiteY0" fmla="*/ 2872985 h 8929123"/>
              <a:gd name="connsiteX1" fmla="*/ 6858000 w 6858000"/>
              <a:gd name="connsiteY1" fmla="*/ 0 h 8929123"/>
              <a:gd name="connsiteX2" fmla="*/ 0 w 6858000"/>
              <a:gd name="connsiteY2" fmla="*/ 3197938 h 8929123"/>
              <a:gd name="connsiteX3" fmla="*/ 0 w 6858000"/>
              <a:gd name="connsiteY3" fmla="*/ 8929123 h 8929123"/>
              <a:gd name="connsiteX4" fmla="*/ 6857997 w 6858000"/>
              <a:gd name="connsiteY4" fmla="*/ 8929123 h 8929123"/>
              <a:gd name="connsiteX5" fmla="*/ 6857997 w 6858000"/>
              <a:gd name="connsiteY5" fmla="*/ 2872986 h 8929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58000" h="8929123">
                <a:moveTo>
                  <a:pt x="6858000" y="2872985"/>
                </a:moveTo>
                <a:lnTo>
                  <a:pt x="6858000" y="0"/>
                </a:lnTo>
                <a:lnTo>
                  <a:pt x="0" y="3197938"/>
                </a:lnTo>
                <a:lnTo>
                  <a:pt x="0" y="8929123"/>
                </a:lnTo>
                <a:lnTo>
                  <a:pt x="6857997" y="8929123"/>
                </a:lnTo>
                <a:lnTo>
                  <a:pt x="6857997" y="2872986"/>
                </a:lnTo>
                <a:close/>
              </a:path>
            </a:pathLst>
          </a:cu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277EBB7D-F249-4E77-9B9C-BD9DBD49E7EB}"/>
              </a:ext>
            </a:extLst>
          </p:cNvPr>
          <p:cNvSpPr/>
          <p:nvPr userDrawn="1"/>
        </p:nvSpPr>
        <p:spPr>
          <a:xfrm>
            <a:off x="23446" y="4782085"/>
            <a:ext cx="2503570" cy="2075914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92C11B">
              <a:alpha val="41961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rgbClr val="FFFFFF"/>
              </a:solidFill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2187806"/>
            <a:ext cx="6050183" cy="984885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32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6F3D174-89D1-411B-90BD-5D8D57671A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1" y="3652838"/>
            <a:ext cx="9212849" cy="738664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14" name="Grafik 7">
            <a:extLst>
              <a:ext uri="{FF2B5EF4-FFF2-40B4-BE49-F238E27FC236}">
                <a16:creationId xmlns:a16="http://schemas.microsoft.com/office/drawing/2014/main" id="{91C20983-4BB4-481B-8202-F63F178E34B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973" y="5869536"/>
            <a:ext cx="3175725" cy="531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69164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2" pos="483">
          <p15:clr>
            <a:srgbClr val="A4A3A4"/>
          </p15:clr>
        </p15:guide>
        <p15:guide id="3" orient="horz" pos="754">
          <p15:clr>
            <a:srgbClr val="A4A3A4"/>
          </p15:clr>
        </p15:guide>
        <p15:guide id="4" orient="horz" pos="640">
          <p15:clr>
            <a:srgbClr val="A4A3A4"/>
          </p15:clr>
        </p15:guide>
        <p15:guide id="5" orient="horz" pos="210">
          <p15:clr>
            <a:srgbClr val="A4A3A4"/>
          </p15:clr>
        </p15:guide>
        <p15:guide id="6" orient="horz" pos="4065">
          <p15:clr>
            <a:srgbClr val="A4A3A4"/>
          </p15:clr>
        </p15:guide>
        <p15:guide id="7" pos="7197">
          <p15:clr>
            <a:srgbClr val="A4A3A4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CHWARZ // Bildplatzhalt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de-DE" sz="4800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9C8FAAA3-C206-4AB6-B5E7-12A5FFBDB57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5286826"/>
          </a:xfrm>
          <a:custGeom>
            <a:avLst/>
            <a:gdLst>
              <a:gd name="connsiteX0" fmla="*/ 0 w 12192000"/>
              <a:gd name="connsiteY0" fmla="*/ 0 h 5286826"/>
              <a:gd name="connsiteX1" fmla="*/ 12192000 w 12192000"/>
              <a:gd name="connsiteY1" fmla="*/ 0 h 5286826"/>
              <a:gd name="connsiteX2" fmla="*/ 12192000 w 12192000"/>
              <a:gd name="connsiteY2" fmla="*/ 4110680 h 5286826"/>
              <a:gd name="connsiteX3" fmla="*/ 0 w 12192000"/>
              <a:gd name="connsiteY3" fmla="*/ 5286826 h 5286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286826">
                <a:moveTo>
                  <a:pt x="0" y="0"/>
                </a:moveTo>
                <a:lnTo>
                  <a:pt x="12192000" y="0"/>
                </a:lnTo>
                <a:lnTo>
                  <a:pt x="12192000" y="4110680"/>
                </a:lnTo>
                <a:lnTo>
                  <a:pt x="0" y="528682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1587030"/>
            <a:ext cx="7856911" cy="1477328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48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6F3D174-89D1-411B-90BD-5D8D57671A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1" y="3375890"/>
            <a:ext cx="9212849" cy="984885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3200" b="1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3CC68A23-E418-487E-BB61-DBF9AB5D5585}"/>
              </a:ext>
            </a:extLst>
          </p:cNvPr>
          <p:cNvSpPr/>
          <p:nvPr userDrawn="1"/>
        </p:nvSpPr>
        <p:spPr>
          <a:xfrm>
            <a:off x="9413269" y="4782085"/>
            <a:ext cx="2503570" cy="2075914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rgbClr val="FFFFFF"/>
              </a:solidFill>
            </a:endParaRPr>
          </a:p>
        </p:txBody>
      </p:sp>
      <p:pic>
        <p:nvPicPr>
          <p:cNvPr id="14" name="Grafik 7">
            <a:extLst>
              <a:ext uri="{FF2B5EF4-FFF2-40B4-BE49-F238E27FC236}">
                <a16:creationId xmlns:a16="http://schemas.microsoft.com/office/drawing/2014/main" id="{47771F56-AB96-4166-9A11-401910BDF52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7897" y="5679467"/>
            <a:ext cx="4310578" cy="721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8432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2" pos="483">
          <p15:clr>
            <a:srgbClr val="A4A3A4"/>
          </p15:clr>
        </p15:guide>
        <p15:guide id="3" orient="horz" pos="754">
          <p15:clr>
            <a:srgbClr val="A4A3A4"/>
          </p15:clr>
        </p15:guide>
        <p15:guide id="4" orient="horz" pos="640">
          <p15:clr>
            <a:srgbClr val="A4A3A4"/>
          </p15:clr>
        </p15:guide>
        <p15:guide id="5" orient="horz" pos="210">
          <p15:clr>
            <a:srgbClr val="A4A3A4"/>
          </p15:clr>
        </p15:guide>
        <p15:guide id="6" pos="7197">
          <p15:clr>
            <a:srgbClr val="A4A3A4"/>
          </p15:clr>
        </p15:guide>
        <p15:guide id="7" orient="horz" pos="4065">
          <p15:clr>
            <a:srgbClr val="A4A3A4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// Bildplatzhal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de-DE" sz="4800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2" name="Picture Placeholder 17">
            <a:extLst>
              <a:ext uri="{FF2B5EF4-FFF2-40B4-BE49-F238E27FC236}">
                <a16:creationId xmlns:a16="http://schemas.microsoft.com/office/drawing/2014/main" id="{8BBD763D-9831-4A19-A5FB-7D047CE374B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5286826"/>
          </a:xfrm>
          <a:custGeom>
            <a:avLst/>
            <a:gdLst>
              <a:gd name="connsiteX0" fmla="*/ 0 w 12192000"/>
              <a:gd name="connsiteY0" fmla="*/ 0 h 5286826"/>
              <a:gd name="connsiteX1" fmla="*/ 12192000 w 12192000"/>
              <a:gd name="connsiteY1" fmla="*/ 0 h 5286826"/>
              <a:gd name="connsiteX2" fmla="*/ 12192000 w 12192000"/>
              <a:gd name="connsiteY2" fmla="*/ 4110680 h 5286826"/>
              <a:gd name="connsiteX3" fmla="*/ 0 w 12192000"/>
              <a:gd name="connsiteY3" fmla="*/ 5286826 h 5286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286826">
                <a:moveTo>
                  <a:pt x="0" y="0"/>
                </a:moveTo>
                <a:lnTo>
                  <a:pt x="12192000" y="0"/>
                </a:lnTo>
                <a:lnTo>
                  <a:pt x="12192000" y="4110680"/>
                </a:lnTo>
                <a:lnTo>
                  <a:pt x="0" y="528682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grpSp>
        <p:nvGrpSpPr>
          <p:cNvPr id="19" name="Group 11">
            <a:extLst>
              <a:ext uri="{FF2B5EF4-FFF2-40B4-BE49-F238E27FC236}">
                <a16:creationId xmlns:a16="http://schemas.microsoft.com/office/drawing/2014/main" id="{DD0B2458-7347-4F27-A78C-530CE66DB127}"/>
              </a:ext>
            </a:extLst>
          </p:cNvPr>
          <p:cNvGrpSpPr/>
          <p:nvPr userDrawn="1"/>
        </p:nvGrpSpPr>
        <p:grpSpPr>
          <a:xfrm>
            <a:off x="1" y="4180551"/>
            <a:ext cx="12192000" cy="2084670"/>
            <a:chOff x="-14320" y="4773330"/>
            <a:chExt cx="12206319" cy="2084670"/>
          </a:xfrm>
          <a:solidFill>
            <a:schemeClr val="tx2"/>
          </a:solidFill>
        </p:grpSpPr>
        <p:sp>
          <p:nvSpPr>
            <p:cNvPr id="20" name="Freihandform: Form 36">
              <a:extLst>
                <a:ext uri="{FF2B5EF4-FFF2-40B4-BE49-F238E27FC236}">
                  <a16:creationId xmlns:a16="http://schemas.microsoft.com/office/drawing/2014/main" id="{A4428FEA-6C26-4852-A3E9-8FF018FA60FA}"/>
                </a:ext>
              </a:extLst>
            </p:cNvPr>
            <p:cNvSpPr/>
            <p:nvPr/>
          </p:nvSpPr>
          <p:spPr>
            <a:xfrm>
              <a:off x="-14320" y="4773330"/>
              <a:ext cx="12206319" cy="1177527"/>
            </a:xfrm>
            <a:custGeom>
              <a:avLst/>
              <a:gdLst>
                <a:gd name="connsiteX0" fmla="*/ 6984082 w 6984082"/>
                <a:gd name="connsiteY0" fmla="*/ 0 h 1087864"/>
                <a:gd name="connsiteX1" fmla="*/ 6984082 w 6984082"/>
                <a:gd name="connsiteY1" fmla="*/ 537210 h 1087864"/>
                <a:gd name="connsiteX2" fmla="*/ 6984082 w 6984082"/>
                <a:gd name="connsiteY2" fmla="*/ 1087864 h 1087864"/>
                <a:gd name="connsiteX3" fmla="*/ 0 w 6984082"/>
                <a:gd name="connsiteY3" fmla="*/ 1087864 h 108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4082" h="1087864">
                  <a:moveTo>
                    <a:pt x="6984082" y="0"/>
                  </a:moveTo>
                  <a:lnTo>
                    <a:pt x="6984082" y="537210"/>
                  </a:lnTo>
                  <a:lnTo>
                    <a:pt x="6984082" y="1087864"/>
                  </a:lnTo>
                  <a:lnTo>
                    <a:pt x="0" y="108786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22" name="Freihandform: Form 36">
              <a:extLst>
                <a:ext uri="{FF2B5EF4-FFF2-40B4-BE49-F238E27FC236}">
                  <a16:creationId xmlns:a16="http://schemas.microsoft.com/office/drawing/2014/main" id="{C5F530EB-DAA4-4C10-9CB7-29DF4AEF6C25}"/>
                </a:ext>
              </a:extLst>
            </p:cNvPr>
            <p:cNvSpPr/>
            <p:nvPr/>
          </p:nvSpPr>
          <p:spPr>
            <a:xfrm>
              <a:off x="-14320" y="5950857"/>
              <a:ext cx="12206319" cy="907143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1587030"/>
            <a:ext cx="7856911" cy="1477328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48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6F3D174-89D1-411B-90BD-5D8D57671A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1" y="3375890"/>
            <a:ext cx="9212849" cy="984885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3200" b="1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3CC68A23-E418-487E-BB61-DBF9AB5D5585}"/>
              </a:ext>
            </a:extLst>
          </p:cNvPr>
          <p:cNvSpPr/>
          <p:nvPr userDrawn="1"/>
        </p:nvSpPr>
        <p:spPr>
          <a:xfrm>
            <a:off x="9413269" y="4782085"/>
            <a:ext cx="2503570" cy="2075914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92C11B">
              <a:alpha val="41961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rgbClr val="FFFFFF"/>
              </a:solidFill>
            </a:endParaRPr>
          </a:p>
        </p:txBody>
      </p:sp>
      <p:pic>
        <p:nvPicPr>
          <p:cNvPr id="14" name="Grafik 7">
            <a:extLst>
              <a:ext uri="{FF2B5EF4-FFF2-40B4-BE49-F238E27FC236}">
                <a16:creationId xmlns:a16="http://schemas.microsoft.com/office/drawing/2014/main" id="{47771F56-AB96-4166-9A11-401910BDF52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7897" y="5679467"/>
            <a:ext cx="4310578" cy="721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9005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2" pos="483">
          <p15:clr>
            <a:srgbClr val="A4A3A4"/>
          </p15:clr>
        </p15:guide>
        <p15:guide id="3" orient="horz" pos="754">
          <p15:clr>
            <a:srgbClr val="A4A3A4"/>
          </p15:clr>
        </p15:guide>
        <p15:guide id="4" orient="horz" pos="640">
          <p15:clr>
            <a:srgbClr val="A4A3A4"/>
          </p15:clr>
        </p15:guide>
        <p15:guide id="5" orient="horz" pos="210">
          <p15:clr>
            <a:srgbClr val="A4A3A4"/>
          </p15:clr>
        </p15:guide>
        <p15:guide id="6" pos="7197">
          <p15:clr>
            <a:srgbClr val="A4A3A4"/>
          </p15:clr>
        </p15:guide>
        <p15:guide id="7" orient="horz" pos="4065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// Bildplatzhal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869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4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Picture Placeholder 17">
            <a:extLst>
              <a:ext uri="{FF2B5EF4-FFF2-40B4-BE49-F238E27FC236}">
                <a16:creationId xmlns:a16="http://schemas.microsoft.com/office/drawing/2014/main" id="{8BBD763D-9831-4A19-A5FB-7D047CE374B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5286826"/>
          </a:xfrm>
          <a:custGeom>
            <a:avLst/>
            <a:gdLst>
              <a:gd name="connsiteX0" fmla="*/ 0 w 12192000"/>
              <a:gd name="connsiteY0" fmla="*/ 0 h 5286826"/>
              <a:gd name="connsiteX1" fmla="*/ 12192000 w 12192000"/>
              <a:gd name="connsiteY1" fmla="*/ 0 h 5286826"/>
              <a:gd name="connsiteX2" fmla="*/ 12192000 w 12192000"/>
              <a:gd name="connsiteY2" fmla="*/ 4110680 h 5286826"/>
              <a:gd name="connsiteX3" fmla="*/ 0 w 12192000"/>
              <a:gd name="connsiteY3" fmla="*/ 5286826 h 5286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286826">
                <a:moveTo>
                  <a:pt x="0" y="0"/>
                </a:moveTo>
                <a:lnTo>
                  <a:pt x="12192000" y="0"/>
                </a:lnTo>
                <a:lnTo>
                  <a:pt x="12192000" y="4110680"/>
                </a:lnTo>
                <a:lnTo>
                  <a:pt x="0" y="528682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grpSp>
        <p:nvGrpSpPr>
          <p:cNvPr id="19" name="Group 11">
            <a:extLst>
              <a:ext uri="{FF2B5EF4-FFF2-40B4-BE49-F238E27FC236}">
                <a16:creationId xmlns:a16="http://schemas.microsoft.com/office/drawing/2014/main" id="{DD0B2458-7347-4F27-A78C-530CE66DB127}"/>
              </a:ext>
            </a:extLst>
          </p:cNvPr>
          <p:cNvGrpSpPr/>
          <p:nvPr userDrawn="1"/>
        </p:nvGrpSpPr>
        <p:grpSpPr>
          <a:xfrm>
            <a:off x="1" y="4180551"/>
            <a:ext cx="12192000" cy="2084670"/>
            <a:chOff x="-14320" y="4773330"/>
            <a:chExt cx="12206319" cy="2084670"/>
          </a:xfrm>
          <a:solidFill>
            <a:schemeClr val="tx2"/>
          </a:solidFill>
        </p:grpSpPr>
        <p:sp>
          <p:nvSpPr>
            <p:cNvPr id="20" name="Freihandform: Form 36">
              <a:extLst>
                <a:ext uri="{FF2B5EF4-FFF2-40B4-BE49-F238E27FC236}">
                  <a16:creationId xmlns:a16="http://schemas.microsoft.com/office/drawing/2014/main" id="{A4428FEA-6C26-4852-A3E9-8FF018FA60FA}"/>
                </a:ext>
              </a:extLst>
            </p:cNvPr>
            <p:cNvSpPr/>
            <p:nvPr/>
          </p:nvSpPr>
          <p:spPr>
            <a:xfrm>
              <a:off x="-14320" y="4773330"/>
              <a:ext cx="12206319" cy="1177527"/>
            </a:xfrm>
            <a:custGeom>
              <a:avLst/>
              <a:gdLst>
                <a:gd name="connsiteX0" fmla="*/ 6984082 w 6984082"/>
                <a:gd name="connsiteY0" fmla="*/ 0 h 1087864"/>
                <a:gd name="connsiteX1" fmla="*/ 6984082 w 6984082"/>
                <a:gd name="connsiteY1" fmla="*/ 537210 h 1087864"/>
                <a:gd name="connsiteX2" fmla="*/ 6984082 w 6984082"/>
                <a:gd name="connsiteY2" fmla="*/ 1087864 h 1087864"/>
                <a:gd name="connsiteX3" fmla="*/ 0 w 6984082"/>
                <a:gd name="connsiteY3" fmla="*/ 1087864 h 108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4082" h="1087864">
                  <a:moveTo>
                    <a:pt x="6984082" y="0"/>
                  </a:moveTo>
                  <a:lnTo>
                    <a:pt x="6984082" y="537210"/>
                  </a:lnTo>
                  <a:lnTo>
                    <a:pt x="6984082" y="1087864"/>
                  </a:lnTo>
                  <a:lnTo>
                    <a:pt x="0" y="108786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2" name="Freihandform: Form 36">
              <a:extLst>
                <a:ext uri="{FF2B5EF4-FFF2-40B4-BE49-F238E27FC236}">
                  <a16:creationId xmlns:a16="http://schemas.microsoft.com/office/drawing/2014/main" id="{C5F530EB-DAA4-4C10-9CB7-29DF4AEF6C25}"/>
                </a:ext>
              </a:extLst>
            </p:cNvPr>
            <p:cNvSpPr/>
            <p:nvPr/>
          </p:nvSpPr>
          <p:spPr>
            <a:xfrm>
              <a:off x="-14320" y="5950857"/>
              <a:ext cx="12206319" cy="907143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1587030"/>
            <a:ext cx="7856911" cy="1477328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48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6F3D174-89D1-411B-90BD-5D8D57671A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1" y="3375890"/>
            <a:ext cx="9212849" cy="984885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3200" b="1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3CC68A23-E418-487E-BB61-DBF9AB5D5585}"/>
              </a:ext>
            </a:extLst>
          </p:cNvPr>
          <p:cNvSpPr/>
          <p:nvPr userDrawn="1"/>
        </p:nvSpPr>
        <p:spPr>
          <a:xfrm>
            <a:off x="9413269" y="4782085"/>
            <a:ext cx="2503570" cy="2075914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92C11B">
              <a:alpha val="41961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 lvl="0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14" name="Grafik 7">
            <a:extLst>
              <a:ext uri="{FF2B5EF4-FFF2-40B4-BE49-F238E27FC236}">
                <a16:creationId xmlns:a16="http://schemas.microsoft.com/office/drawing/2014/main" id="{47771F56-AB96-4166-9A11-401910BDF52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7897" y="5679467"/>
            <a:ext cx="4310578" cy="721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14803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2" pos="483" userDrawn="1">
          <p15:clr>
            <a:srgbClr val="A4A3A4"/>
          </p15:clr>
        </p15:guide>
        <p15:guide id="4" orient="horz" pos="754" userDrawn="1">
          <p15:clr>
            <a:srgbClr val="A4A3A4"/>
          </p15:clr>
        </p15:guide>
        <p15:guide id="5" orient="horz" pos="640" userDrawn="1">
          <p15:clr>
            <a:srgbClr val="A4A3A4"/>
          </p15:clr>
        </p15:guide>
        <p15:guide id="6" orient="horz" pos="210" userDrawn="1">
          <p15:clr>
            <a:srgbClr val="A4A3A4"/>
          </p15:clr>
        </p15:guide>
        <p15:guide id="7" pos="7197" userDrawn="1">
          <p15:clr>
            <a:srgbClr val="A4A3A4"/>
          </p15:clr>
        </p15:guide>
        <p15:guide id="8" orient="horz" pos="4065" userDrawn="1">
          <p15:clr>
            <a:srgbClr val="A4A3A4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// Bild fix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4FB6EE2C-707F-C44D-8AA5-9E2D85214630}"/>
              </a:ext>
            </a:extLst>
          </p:cNvPr>
          <p:cNvSpPr/>
          <p:nvPr userDrawn="1"/>
        </p:nvSpPr>
        <p:spPr>
          <a:xfrm>
            <a:off x="-2" y="0"/>
            <a:ext cx="12192001" cy="6193111"/>
          </a:xfrm>
          <a:prstGeom prst="rect">
            <a:avLst/>
          </a:prstGeom>
          <a:solidFill>
            <a:srgbClr val="000000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rgbClr val="FFFFFF"/>
              </a:solidFill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7D80E89-247E-A848-AC8E-FD04136F57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2027"/>
          <a:stretch/>
        </p:blipFill>
        <p:spPr>
          <a:xfrm>
            <a:off x="2499308" y="0"/>
            <a:ext cx="7531100" cy="5400942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FD36E87A-29D3-BC47-8370-3C6F038F86FB}"/>
              </a:ext>
            </a:extLst>
          </p:cNvPr>
          <p:cNvGrpSpPr/>
          <p:nvPr userDrawn="1"/>
        </p:nvGrpSpPr>
        <p:grpSpPr>
          <a:xfrm>
            <a:off x="1" y="4109111"/>
            <a:ext cx="12192000" cy="2584735"/>
            <a:chOff x="1" y="4109111"/>
            <a:chExt cx="12192000" cy="2584735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A4D2EE94-2913-F74B-BF74-14EEECDA3E6A}"/>
                </a:ext>
              </a:extLst>
            </p:cNvPr>
            <p:cNvGrpSpPr/>
            <p:nvPr userDrawn="1"/>
          </p:nvGrpSpPr>
          <p:grpSpPr>
            <a:xfrm>
              <a:off x="1" y="4109111"/>
              <a:ext cx="12192000" cy="2156110"/>
              <a:chOff x="-14320" y="4701890"/>
              <a:chExt cx="12206319" cy="2156110"/>
            </a:xfrm>
            <a:solidFill>
              <a:schemeClr val="tx2"/>
            </a:solidFill>
          </p:grpSpPr>
          <p:sp>
            <p:nvSpPr>
              <p:cNvPr id="27" name="Freihandform: Form 36">
                <a:extLst>
                  <a:ext uri="{FF2B5EF4-FFF2-40B4-BE49-F238E27FC236}">
                    <a16:creationId xmlns:a16="http://schemas.microsoft.com/office/drawing/2014/main" id="{77B660CE-0A34-A240-B62F-43519ED186EF}"/>
                  </a:ext>
                </a:extLst>
              </p:cNvPr>
              <p:cNvSpPr/>
              <p:nvPr/>
            </p:nvSpPr>
            <p:spPr>
              <a:xfrm>
                <a:off x="-14320" y="4701890"/>
                <a:ext cx="12206319" cy="1177527"/>
              </a:xfrm>
              <a:custGeom>
                <a:avLst/>
                <a:gdLst>
                  <a:gd name="connsiteX0" fmla="*/ 6984082 w 6984082"/>
                  <a:gd name="connsiteY0" fmla="*/ 0 h 1087864"/>
                  <a:gd name="connsiteX1" fmla="*/ 6984082 w 6984082"/>
                  <a:gd name="connsiteY1" fmla="*/ 537210 h 1087864"/>
                  <a:gd name="connsiteX2" fmla="*/ 6984082 w 6984082"/>
                  <a:gd name="connsiteY2" fmla="*/ 1087864 h 1087864"/>
                  <a:gd name="connsiteX3" fmla="*/ 0 w 6984082"/>
                  <a:gd name="connsiteY3" fmla="*/ 1087864 h 1087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984082" h="1087864">
                    <a:moveTo>
                      <a:pt x="6984082" y="0"/>
                    </a:moveTo>
                    <a:lnTo>
                      <a:pt x="6984082" y="537210"/>
                    </a:lnTo>
                    <a:lnTo>
                      <a:pt x="6984082" y="1087864"/>
                    </a:lnTo>
                    <a:lnTo>
                      <a:pt x="0" y="1087864"/>
                    </a:lnTo>
                    <a:close/>
                  </a:path>
                </a:pathLst>
              </a:custGeom>
              <a:grpFill/>
              <a:ln w="19050" cmpd="sng">
                <a:noFill/>
                <a:prstDash val="dash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ctr" anchorCtr="0">
                <a:noAutofit/>
              </a:bodyPr>
              <a:lstStyle/>
              <a:p>
                <a:pPr algn="ctr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de-DE" sz="14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" name="Freihandform: Form 36">
                <a:extLst>
                  <a:ext uri="{FF2B5EF4-FFF2-40B4-BE49-F238E27FC236}">
                    <a16:creationId xmlns:a16="http://schemas.microsoft.com/office/drawing/2014/main" id="{A4B9466F-338C-094F-940A-E4F8C0FB212E}"/>
                  </a:ext>
                </a:extLst>
              </p:cNvPr>
              <p:cNvSpPr/>
              <p:nvPr/>
            </p:nvSpPr>
            <p:spPr>
              <a:xfrm>
                <a:off x="-14320" y="5950857"/>
                <a:ext cx="12206319" cy="907143"/>
              </a:xfrm>
              <a:prstGeom prst="rect">
                <a:avLst/>
              </a:prstGeom>
              <a:grpFill/>
              <a:ln w="19050" cmpd="sng">
                <a:noFill/>
                <a:prstDash val="dash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ctr" anchorCtr="0">
                <a:noAutofit/>
              </a:bodyPr>
              <a:lstStyle/>
              <a:p>
                <a:pPr algn="ctr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de-DE" sz="1400" b="1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6E1FC518-7A43-5B4E-ACD6-904D7BF83146}"/>
                </a:ext>
              </a:extLst>
            </p:cNvPr>
            <p:cNvGrpSpPr/>
            <p:nvPr userDrawn="1"/>
          </p:nvGrpSpPr>
          <p:grpSpPr>
            <a:xfrm>
              <a:off x="1" y="5286638"/>
              <a:ext cx="12192000" cy="1407208"/>
              <a:chOff x="-14320" y="4701890"/>
              <a:chExt cx="12206319" cy="2156110"/>
            </a:xfrm>
            <a:solidFill>
              <a:schemeClr val="tx2"/>
            </a:solidFill>
          </p:grpSpPr>
          <p:sp>
            <p:nvSpPr>
              <p:cNvPr id="25" name="Freihandform: Form 36">
                <a:extLst>
                  <a:ext uri="{FF2B5EF4-FFF2-40B4-BE49-F238E27FC236}">
                    <a16:creationId xmlns:a16="http://schemas.microsoft.com/office/drawing/2014/main" id="{E8B85861-FFF2-9044-AB3C-0431F4DAD23B}"/>
                  </a:ext>
                </a:extLst>
              </p:cNvPr>
              <p:cNvSpPr/>
              <p:nvPr/>
            </p:nvSpPr>
            <p:spPr>
              <a:xfrm>
                <a:off x="-14320" y="4701890"/>
                <a:ext cx="12206319" cy="1177527"/>
              </a:xfrm>
              <a:prstGeom prst="rect">
                <a:avLst/>
              </a:prstGeom>
              <a:grpFill/>
              <a:ln w="19050" cmpd="sng">
                <a:noFill/>
                <a:prstDash val="dash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ctr" anchorCtr="0">
                <a:noAutofit/>
              </a:bodyPr>
              <a:lstStyle/>
              <a:p>
                <a:pPr algn="ctr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de-DE" sz="14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" name="Freihandform: Form 36">
                <a:extLst>
                  <a:ext uri="{FF2B5EF4-FFF2-40B4-BE49-F238E27FC236}">
                    <a16:creationId xmlns:a16="http://schemas.microsoft.com/office/drawing/2014/main" id="{39254663-6158-6A45-AE29-7268EB9EC89A}"/>
                  </a:ext>
                </a:extLst>
              </p:cNvPr>
              <p:cNvSpPr/>
              <p:nvPr/>
            </p:nvSpPr>
            <p:spPr>
              <a:xfrm>
                <a:off x="-14320" y="5950857"/>
                <a:ext cx="12206319" cy="907143"/>
              </a:xfrm>
              <a:prstGeom prst="rect">
                <a:avLst/>
              </a:prstGeom>
              <a:grpFill/>
              <a:ln w="19050" cmpd="sng">
                <a:noFill/>
                <a:prstDash val="dash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ctr" anchorCtr="0">
                <a:noAutofit/>
              </a:bodyPr>
              <a:lstStyle/>
              <a:p>
                <a:pPr algn="ctr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de-DE" sz="1400" b="1" dirty="0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A0779EA-D713-DD4F-80D4-8D599941F06A}"/>
              </a:ext>
            </a:extLst>
          </p:cNvPr>
          <p:cNvGrpSpPr/>
          <p:nvPr userDrawn="1"/>
        </p:nvGrpSpPr>
        <p:grpSpPr>
          <a:xfrm>
            <a:off x="1" y="4180551"/>
            <a:ext cx="12192000" cy="2084670"/>
            <a:chOff x="-14320" y="4773330"/>
            <a:chExt cx="12206319" cy="2084670"/>
          </a:xfrm>
          <a:solidFill>
            <a:schemeClr val="tx2"/>
          </a:solidFill>
        </p:grpSpPr>
        <p:sp>
          <p:nvSpPr>
            <p:cNvPr id="15" name="Freihandform: Form 36">
              <a:extLst>
                <a:ext uri="{FF2B5EF4-FFF2-40B4-BE49-F238E27FC236}">
                  <a16:creationId xmlns:a16="http://schemas.microsoft.com/office/drawing/2014/main" id="{6B81F7C2-50E7-D648-A1CA-DE8AF9652D34}"/>
                </a:ext>
              </a:extLst>
            </p:cNvPr>
            <p:cNvSpPr/>
            <p:nvPr/>
          </p:nvSpPr>
          <p:spPr>
            <a:xfrm>
              <a:off x="-14320" y="4773330"/>
              <a:ext cx="12206319" cy="1177527"/>
            </a:xfrm>
            <a:custGeom>
              <a:avLst/>
              <a:gdLst>
                <a:gd name="connsiteX0" fmla="*/ 6984082 w 6984082"/>
                <a:gd name="connsiteY0" fmla="*/ 0 h 1087864"/>
                <a:gd name="connsiteX1" fmla="*/ 6984082 w 6984082"/>
                <a:gd name="connsiteY1" fmla="*/ 537210 h 1087864"/>
                <a:gd name="connsiteX2" fmla="*/ 6984082 w 6984082"/>
                <a:gd name="connsiteY2" fmla="*/ 1087864 h 1087864"/>
                <a:gd name="connsiteX3" fmla="*/ 0 w 6984082"/>
                <a:gd name="connsiteY3" fmla="*/ 1087864 h 108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4082" h="1087864">
                  <a:moveTo>
                    <a:pt x="6984082" y="0"/>
                  </a:moveTo>
                  <a:lnTo>
                    <a:pt x="6984082" y="537210"/>
                  </a:lnTo>
                  <a:lnTo>
                    <a:pt x="6984082" y="1087864"/>
                  </a:lnTo>
                  <a:lnTo>
                    <a:pt x="0" y="108786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6" name="Freihandform: Form 36">
              <a:extLst>
                <a:ext uri="{FF2B5EF4-FFF2-40B4-BE49-F238E27FC236}">
                  <a16:creationId xmlns:a16="http://schemas.microsoft.com/office/drawing/2014/main" id="{15DF55AD-F834-9347-9E93-6BEEA3FBCAB3}"/>
                </a:ext>
              </a:extLst>
            </p:cNvPr>
            <p:cNvSpPr/>
            <p:nvPr/>
          </p:nvSpPr>
          <p:spPr>
            <a:xfrm>
              <a:off x="-14320" y="5950857"/>
              <a:ext cx="12206319" cy="907143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</p:grp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6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de-DE" sz="4800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1587030"/>
            <a:ext cx="7856911" cy="1477328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48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6F3D174-89D1-411B-90BD-5D8D57671A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1" y="3375890"/>
            <a:ext cx="9212849" cy="984885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3200" b="1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3CC68A23-E418-487E-BB61-DBF9AB5D5585}"/>
              </a:ext>
            </a:extLst>
          </p:cNvPr>
          <p:cNvSpPr/>
          <p:nvPr userDrawn="1"/>
        </p:nvSpPr>
        <p:spPr>
          <a:xfrm>
            <a:off x="9413269" y="4782085"/>
            <a:ext cx="2503570" cy="2075914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92C11B">
              <a:alpha val="41961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87078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2" pos="483">
          <p15:clr>
            <a:srgbClr val="A4A3A4"/>
          </p15:clr>
        </p15:guide>
        <p15:guide id="3" orient="horz" pos="754">
          <p15:clr>
            <a:srgbClr val="A4A3A4"/>
          </p15:clr>
        </p15:guide>
        <p15:guide id="4" orient="horz" pos="640">
          <p15:clr>
            <a:srgbClr val="A4A3A4"/>
          </p15:clr>
        </p15:guide>
        <p15:guide id="5" orient="horz" pos="210">
          <p15:clr>
            <a:srgbClr val="A4A3A4"/>
          </p15:clr>
        </p15:guide>
        <p15:guide id="6" pos="7197">
          <p15:clr>
            <a:srgbClr val="A4A3A4"/>
          </p15:clr>
        </p15:guide>
        <p15:guide id="7" orient="horz" pos="4065">
          <p15:clr>
            <a:srgbClr val="A4A3A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// 1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8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0E83E4A-9A3D-4624-A632-4365CC9008C6}"/>
              </a:ext>
            </a:extLst>
          </p:cNvPr>
          <p:cNvGrpSpPr/>
          <p:nvPr userDrawn="1"/>
        </p:nvGrpSpPr>
        <p:grpSpPr>
          <a:xfrm>
            <a:off x="-14320" y="4523949"/>
            <a:ext cx="12206319" cy="2084670"/>
            <a:chOff x="-14320" y="4773330"/>
            <a:chExt cx="12206319" cy="2084670"/>
          </a:xfrm>
          <a:solidFill>
            <a:schemeClr val="bg1"/>
          </a:solidFill>
        </p:grpSpPr>
        <p:sp>
          <p:nvSpPr>
            <p:cNvPr id="12" name="Freihandform: Form 36">
              <a:extLst>
                <a:ext uri="{FF2B5EF4-FFF2-40B4-BE49-F238E27FC236}">
                  <a16:creationId xmlns:a16="http://schemas.microsoft.com/office/drawing/2014/main" id="{0CCDEB08-509C-412A-B334-886FA8CA4A53}"/>
                </a:ext>
              </a:extLst>
            </p:cNvPr>
            <p:cNvSpPr/>
            <p:nvPr/>
          </p:nvSpPr>
          <p:spPr>
            <a:xfrm>
              <a:off x="-14320" y="4773330"/>
              <a:ext cx="12206319" cy="1177527"/>
            </a:xfrm>
            <a:custGeom>
              <a:avLst/>
              <a:gdLst>
                <a:gd name="connsiteX0" fmla="*/ 6984082 w 6984082"/>
                <a:gd name="connsiteY0" fmla="*/ 0 h 1087864"/>
                <a:gd name="connsiteX1" fmla="*/ 6984082 w 6984082"/>
                <a:gd name="connsiteY1" fmla="*/ 537210 h 1087864"/>
                <a:gd name="connsiteX2" fmla="*/ 6984082 w 6984082"/>
                <a:gd name="connsiteY2" fmla="*/ 1087864 h 1087864"/>
                <a:gd name="connsiteX3" fmla="*/ 0 w 6984082"/>
                <a:gd name="connsiteY3" fmla="*/ 1087864 h 108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4082" h="1087864">
                  <a:moveTo>
                    <a:pt x="6984082" y="0"/>
                  </a:moveTo>
                  <a:lnTo>
                    <a:pt x="6984082" y="537210"/>
                  </a:lnTo>
                  <a:lnTo>
                    <a:pt x="6984082" y="1087864"/>
                  </a:lnTo>
                  <a:lnTo>
                    <a:pt x="0" y="108786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3" name="Freihandform: Form 36">
              <a:extLst>
                <a:ext uri="{FF2B5EF4-FFF2-40B4-BE49-F238E27FC236}">
                  <a16:creationId xmlns:a16="http://schemas.microsoft.com/office/drawing/2014/main" id="{5F6B9C06-4759-4BDD-8A87-6A0B93D8BF27}"/>
                </a:ext>
              </a:extLst>
            </p:cNvPr>
            <p:cNvSpPr/>
            <p:nvPr/>
          </p:nvSpPr>
          <p:spPr>
            <a:xfrm>
              <a:off x="-14320" y="5950857"/>
              <a:ext cx="12206319" cy="907143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7B158FD-BC8B-4BD7-B30C-33155EC07E27}"/>
              </a:ext>
            </a:extLst>
          </p:cNvPr>
          <p:cNvGrpSpPr/>
          <p:nvPr userDrawn="1"/>
        </p:nvGrpSpPr>
        <p:grpSpPr>
          <a:xfrm>
            <a:off x="-14320" y="4773330"/>
            <a:ext cx="12206319" cy="2084670"/>
            <a:chOff x="-14320" y="4773330"/>
            <a:chExt cx="12206319" cy="2084670"/>
          </a:xfrm>
          <a:solidFill>
            <a:schemeClr val="tx1"/>
          </a:solidFill>
        </p:grpSpPr>
        <p:sp>
          <p:nvSpPr>
            <p:cNvPr id="18" name="Freihandform: Form 36">
              <a:extLst>
                <a:ext uri="{FF2B5EF4-FFF2-40B4-BE49-F238E27FC236}">
                  <a16:creationId xmlns:a16="http://schemas.microsoft.com/office/drawing/2014/main" id="{276FF15F-79EA-48EF-AB19-8EF5B83AA268}"/>
                </a:ext>
              </a:extLst>
            </p:cNvPr>
            <p:cNvSpPr/>
            <p:nvPr/>
          </p:nvSpPr>
          <p:spPr>
            <a:xfrm>
              <a:off x="-14320" y="4773330"/>
              <a:ext cx="12206319" cy="1177527"/>
            </a:xfrm>
            <a:custGeom>
              <a:avLst/>
              <a:gdLst>
                <a:gd name="connsiteX0" fmla="*/ 6984082 w 6984082"/>
                <a:gd name="connsiteY0" fmla="*/ 0 h 1087864"/>
                <a:gd name="connsiteX1" fmla="*/ 6984082 w 6984082"/>
                <a:gd name="connsiteY1" fmla="*/ 537210 h 1087864"/>
                <a:gd name="connsiteX2" fmla="*/ 6984082 w 6984082"/>
                <a:gd name="connsiteY2" fmla="*/ 1087864 h 1087864"/>
                <a:gd name="connsiteX3" fmla="*/ 0 w 6984082"/>
                <a:gd name="connsiteY3" fmla="*/ 1087864 h 108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4082" h="1087864">
                  <a:moveTo>
                    <a:pt x="6984082" y="0"/>
                  </a:moveTo>
                  <a:lnTo>
                    <a:pt x="6984082" y="537210"/>
                  </a:lnTo>
                  <a:lnTo>
                    <a:pt x="6984082" y="1087864"/>
                  </a:lnTo>
                  <a:lnTo>
                    <a:pt x="0" y="108786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9" name="Freihandform: Form 36">
              <a:extLst>
                <a:ext uri="{FF2B5EF4-FFF2-40B4-BE49-F238E27FC236}">
                  <a16:creationId xmlns:a16="http://schemas.microsoft.com/office/drawing/2014/main" id="{EE10ADC2-F397-424B-A593-F7D24FE8F642}"/>
                </a:ext>
              </a:extLst>
            </p:cNvPr>
            <p:cNvSpPr/>
            <p:nvPr/>
          </p:nvSpPr>
          <p:spPr>
            <a:xfrm>
              <a:off x="-14320" y="5950857"/>
              <a:ext cx="12206319" cy="907143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20" name="Freeform 27">
            <a:extLst>
              <a:ext uri="{FF2B5EF4-FFF2-40B4-BE49-F238E27FC236}">
                <a16:creationId xmlns:a16="http://schemas.microsoft.com/office/drawing/2014/main" id="{F99D45B5-30C5-4D8C-AD9A-57761B90366A}"/>
              </a:ext>
            </a:extLst>
          </p:cNvPr>
          <p:cNvSpPr/>
          <p:nvPr userDrawn="1"/>
        </p:nvSpPr>
        <p:spPr>
          <a:xfrm>
            <a:off x="9950300" y="5187321"/>
            <a:ext cx="2014480" cy="1670373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rgbClr val="FFFFFF"/>
              </a:solidFill>
            </a:endParaRPr>
          </a:p>
        </p:txBody>
      </p:sp>
      <p:pic>
        <p:nvPicPr>
          <p:cNvPr id="21" name="Grafik 7">
            <a:extLst>
              <a:ext uri="{FF2B5EF4-FFF2-40B4-BE49-F238E27FC236}">
                <a16:creationId xmlns:a16="http://schemas.microsoft.com/office/drawing/2014/main" id="{ABC8BF24-69D2-4ED3-A927-999B8112752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55612" y="5849915"/>
            <a:ext cx="2676530" cy="448275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69500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8B7D36-4FC7-458A-91CB-590EC03755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333692"/>
            <a:ext cx="6950075" cy="680356"/>
          </a:xfrm>
        </p:spPr>
        <p:txBody>
          <a:bodyPr/>
          <a:lstStyle>
            <a:lvl1pPr>
              <a:defRPr sz="2800"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01044316-A55F-4672-890E-8E36CD55FAD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967663" y="333692"/>
            <a:ext cx="4224337" cy="4614736"/>
          </a:xfrm>
          <a:custGeom>
            <a:avLst/>
            <a:gdLst>
              <a:gd name="connsiteX0" fmla="*/ 0 w 4224337"/>
              <a:gd name="connsiteY0" fmla="*/ 0 h 4614736"/>
              <a:gd name="connsiteX1" fmla="*/ 4224337 w 4224337"/>
              <a:gd name="connsiteY1" fmla="*/ 0 h 4614736"/>
              <a:gd name="connsiteX2" fmla="*/ 4224337 w 4224337"/>
              <a:gd name="connsiteY2" fmla="*/ 4206741 h 4614736"/>
              <a:gd name="connsiteX3" fmla="*/ 0 w 4224337"/>
              <a:gd name="connsiteY3" fmla="*/ 4614736 h 4614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4337" h="4614736">
                <a:moveTo>
                  <a:pt x="0" y="0"/>
                </a:moveTo>
                <a:lnTo>
                  <a:pt x="4224337" y="0"/>
                </a:lnTo>
                <a:lnTo>
                  <a:pt x="4224337" y="4206741"/>
                </a:lnTo>
                <a:lnTo>
                  <a:pt x="0" y="461473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466707-4BCC-41E0-BEB4-0622C3F345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3" y="2039265"/>
            <a:ext cx="6842125" cy="2357331"/>
          </a:xfrm>
        </p:spPr>
        <p:txBody>
          <a:bodyPr anchor="ctr">
            <a:normAutofit/>
          </a:bodyPr>
          <a:lstStyle>
            <a:lvl1pPr marL="457200" indent="-457200">
              <a:buFont typeface="+mj-lt"/>
              <a:buAutoNum type="arabicPeriod"/>
              <a:defRPr sz="2400" baseline="0"/>
            </a:lvl1pPr>
            <a:lvl2pPr marL="358775" indent="0">
              <a:buFont typeface="+mj-lt"/>
              <a:buNone/>
              <a:defRPr sz="2400"/>
            </a:lvl2pPr>
            <a:lvl3pPr marL="457200" indent="-457200">
              <a:buFont typeface="+mj-lt"/>
              <a:buAutoNum type="arabicPeriod"/>
              <a:defRPr sz="2400"/>
            </a:lvl3pPr>
            <a:lvl4pPr marL="457200" indent="-457200">
              <a:buFont typeface="+mj-lt"/>
              <a:buAutoNum type="arabicPeriod"/>
              <a:defRPr sz="2400"/>
            </a:lvl4pPr>
            <a:lvl5pPr marL="457200" indent="-457200">
              <a:buFont typeface="+mj-lt"/>
              <a:buAutoNum type="arabicPeriod"/>
              <a:defRPr sz="2400"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32906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// 2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8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6B70AA37-E0FC-4DDD-83BC-51CD76943BD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967663" y="1760434"/>
            <a:ext cx="4224337" cy="3187994"/>
          </a:xfrm>
          <a:custGeom>
            <a:avLst/>
            <a:gdLst>
              <a:gd name="connsiteX0" fmla="*/ 4224337 w 4224337"/>
              <a:gd name="connsiteY0" fmla="*/ 0 h 3187994"/>
              <a:gd name="connsiteX1" fmla="*/ 4224337 w 4224337"/>
              <a:gd name="connsiteY1" fmla="*/ 2779999 h 3187994"/>
              <a:gd name="connsiteX2" fmla="*/ 0 w 4224337"/>
              <a:gd name="connsiteY2" fmla="*/ 3187994 h 3187994"/>
              <a:gd name="connsiteX3" fmla="*/ 0 w 4224337"/>
              <a:gd name="connsiteY3" fmla="*/ 407995 h 3187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4337" h="3187994">
                <a:moveTo>
                  <a:pt x="4224337" y="0"/>
                </a:moveTo>
                <a:lnTo>
                  <a:pt x="4224337" y="2779999"/>
                </a:lnTo>
                <a:lnTo>
                  <a:pt x="0" y="3187994"/>
                </a:lnTo>
                <a:lnTo>
                  <a:pt x="0" y="40799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13FAB4FD-6DEF-43B5-849A-C9540A5EA47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967663" y="333693"/>
            <a:ext cx="4224337" cy="1556209"/>
          </a:xfrm>
          <a:custGeom>
            <a:avLst/>
            <a:gdLst>
              <a:gd name="connsiteX0" fmla="*/ 0 w 4224337"/>
              <a:gd name="connsiteY0" fmla="*/ 0 h 1556209"/>
              <a:gd name="connsiteX1" fmla="*/ 4224337 w 4224337"/>
              <a:gd name="connsiteY1" fmla="*/ 0 h 1556209"/>
              <a:gd name="connsiteX2" fmla="*/ 4224337 w 4224337"/>
              <a:gd name="connsiteY2" fmla="*/ 1148214 h 1556209"/>
              <a:gd name="connsiteX3" fmla="*/ 0 w 4224337"/>
              <a:gd name="connsiteY3" fmla="*/ 1556209 h 1556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4337" h="1556209">
                <a:moveTo>
                  <a:pt x="0" y="0"/>
                </a:moveTo>
                <a:lnTo>
                  <a:pt x="4224337" y="0"/>
                </a:lnTo>
                <a:lnTo>
                  <a:pt x="4224337" y="1148214"/>
                </a:lnTo>
                <a:lnTo>
                  <a:pt x="0" y="1556209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0E83E4A-9A3D-4624-A632-4365CC9008C6}"/>
              </a:ext>
            </a:extLst>
          </p:cNvPr>
          <p:cNvGrpSpPr/>
          <p:nvPr userDrawn="1"/>
        </p:nvGrpSpPr>
        <p:grpSpPr>
          <a:xfrm>
            <a:off x="-14320" y="4523949"/>
            <a:ext cx="12206319" cy="2084670"/>
            <a:chOff x="-14320" y="4773330"/>
            <a:chExt cx="12206319" cy="2084670"/>
          </a:xfrm>
          <a:solidFill>
            <a:schemeClr val="bg1"/>
          </a:solidFill>
        </p:grpSpPr>
        <p:sp>
          <p:nvSpPr>
            <p:cNvPr id="12" name="Freihandform: Form 36">
              <a:extLst>
                <a:ext uri="{FF2B5EF4-FFF2-40B4-BE49-F238E27FC236}">
                  <a16:creationId xmlns:a16="http://schemas.microsoft.com/office/drawing/2014/main" id="{0CCDEB08-509C-412A-B334-886FA8CA4A53}"/>
                </a:ext>
              </a:extLst>
            </p:cNvPr>
            <p:cNvSpPr/>
            <p:nvPr/>
          </p:nvSpPr>
          <p:spPr>
            <a:xfrm>
              <a:off x="-14320" y="4773330"/>
              <a:ext cx="12206319" cy="1177527"/>
            </a:xfrm>
            <a:custGeom>
              <a:avLst/>
              <a:gdLst>
                <a:gd name="connsiteX0" fmla="*/ 6984082 w 6984082"/>
                <a:gd name="connsiteY0" fmla="*/ 0 h 1087864"/>
                <a:gd name="connsiteX1" fmla="*/ 6984082 w 6984082"/>
                <a:gd name="connsiteY1" fmla="*/ 537210 h 1087864"/>
                <a:gd name="connsiteX2" fmla="*/ 6984082 w 6984082"/>
                <a:gd name="connsiteY2" fmla="*/ 1087864 h 1087864"/>
                <a:gd name="connsiteX3" fmla="*/ 0 w 6984082"/>
                <a:gd name="connsiteY3" fmla="*/ 1087864 h 108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4082" h="1087864">
                  <a:moveTo>
                    <a:pt x="6984082" y="0"/>
                  </a:moveTo>
                  <a:lnTo>
                    <a:pt x="6984082" y="537210"/>
                  </a:lnTo>
                  <a:lnTo>
                    <a:pt x="6984082" y="1087864"/>
                  </a:lnTo>
                  <a:lnTo>
                    <a:pt x="0" y="108786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3" name="Freihandform: Form 36">
              <a:extLst>
                <a:ext uri="{FF2B5EF4-FFF2-40B4-BE49-F238E27FC236}">
                  <a16:creationId xmlns:a16="http://schemas.microsoft.com/office/drawing/2014/main" id="{5F6B9C06-4759-4BDD-8A87-6A0B93D8BF27}"/>
                </a:ext>
              </a:extLst>
            </p:cNvPr>
            <p:cNvSpPr/>
            <p:nvPr/>
          </p:nvSpPr>
          <p:spPr>
            <a:xfrm>
              <a:off x="-14320" y="5950857"/>
              <a:ext cx="12206319" cy="907143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7B158FD-BC8B-4BD7-B30C-33155EC07E27}"/>
              </a:ext>
            </a:extLst>
          </p:cNvPr>
          <p:cNvGrpSpPr/>
          <p:nvPr userDrawn="1"/>
        </p:nvGrpSpPr>
        <p:grpSpPr>
          <a:xfrm>
            <a:off x="-14320" y="4773330"/>
            <a:ext cx="12206319" cy="2084670"/>
            <a:chOff x="-14320" y="4773330"/>
            <a:chExt cx="12206319" cy="2084670"/>
          </a:xfrm>
          <a:solidFill>
            <a:schemeClr val="tx1"/>
          </a:solidFill>
        </p:grpSpPr>
        <p:sp>
          <p:nvSpPr>
            <p:cNvPr id="18" name="Freihandform: Form 36">
              <a:extLst>
                <a:ext uri="{FF2B5EF4-FFF2-40B4-BE49-F238E27FC236}">
                  <a16:creationId xmlns:a16="http://schemas.microsoft.com/office/drawing/2014/main" id="{276FF15F-79EA-48EF-AB19-8EF5B83AA268}"/>
                </a:ext>
              </a:extLst>
            </p:cNvPr>
            <p:cNvSpPr/>
            <p:nvPr/>
          </p:nvSpPr>
          <p:spPr>
            <a:xfrm>
              <a:off x="-14320" y="4773330"/>
              <a:ext cx="12206319" cy="1177527"/>
            </a:xfrm>
            <a:custGeom>
              <a:avLst/>
              <a:gdLst>
                <a:gd name="connsiteX0" fmla="*/ 6984082 w 6984082"/>
                <a:gd name="connsiteY0" fmla="*/ 0 h 1087864"/>
                <a:gd name="connsiteX1" fmla="*/ 6984082 w 6984082"/>
                <a:gd name="connsiteY1" fmla="*/ 537210 h 1087864"/>
                <a:gd name="connsiteX2" fmla="*/ 6984082 w 6984082"/>
                <a:gd name="connsiteY2" fmla="*/ 1087864 h 1087864"/>
                <a:gd name="connsiteX3" fmla="*/ 0 w 6984082"/>
                <a:gd name="connsiteY3" fmla="*/ 1087864 h 108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4082" h="1087864">
                  <a:moveTo>
                    <a:pt x="6984082" y="0"/>
                  </a:moveTo>
                  <a:lnTo>
                    <a:pt x="6984082" y="537210"/>
                  </a:lnTo>
                  <a:lnTo>
                    <a:pt x="6984082" y="1087864"/>
                  </a:lnTo>
                  <a:lnTo>
                    <a:pt x="0" y="108786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9" name="Freihandform: Form 36">
              <a:extLst>
                <a:ext uri="{FF2B5EF4-FFF2-40B4-BE49-F238E27FC236}">
                  <a16:creationId xmlns:a16="http://schemas.microsoft.com/office/drawing/2014/main" id="{EE10ADC2-F397-424B-A593-F7D24FE8F642}"/>
                </a:ext>
              </a:extLst>
            </p:cNvPr>
            <p:cNvSpPr/>
            <p:nvPr/>
          </p:nvSpPr>
          <p:spPr>
            <a:xfrm>
              <a:off x="-14320" y="5950857"/>
              <a:ext cx="12206319" cy="907143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20" name="Freeform 27">
            <a:extLst>
              <a:ext uri="{FF2B5EF4-FFF2-40B4-BE49-F238E27FC236}">
                <a16:creationId xmlns:a16="http://schemas.microsoft.com/office/drawing/2014/main" id="{F99D45B5-30C5-4D8C-AD9A-57761B90366A}"/>
              </a:ext>
            </a:extLst>
          </p:cNvPr>
          <p:cNvSpPr/>
          <p:nvPr userDrawn="1"/>
        </p:nvSpPr>
        <p:spPr>
          <a:xfrm>
            <a:off x="9950300" y="5187321"/>
            <a:ext cx="2014480" cy="1670373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rgbClr val="FFFFFF"/>
              </a:solidFill>
            </a:endParaRPr>
          </a:p>
        </p:txBody>
      </p:sp>
      <p:pic>
        <p:nvPicPr>
          <p:cNvPr id="21" name="Grafik 7">
            <a:extLst>
              <a:ext uri="{FF2B5EF4-FFF2-40B4-BE49-F238E27FC236}">
                <a16:creationId xmlns:a16="http://schemas.microsoft.com/office/drawing/2014/main" id="{ABC8BF24-69D2-4ED3-A927-999B8112752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55612" y="5849915"/>
            <a:ext cx="2676530" cy="448275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69500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8B7D36-4FC7-458A-91CB-590EC03755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333692"/>
            <a:ext cx="6950075" cy="680356"/>
          </a:xfrm>
        </p:spPr>
        <p:txBody>
          <a:bodyPr/>
          <a:lstStyle>
            <a:lvl1pPr>
              <a:defRPr sz="2800"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466707-4BCC-41E0-BEB4-0622C3F345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3" y="3033264"/>
            <a:ext cx="6842125" cy="369332"/>
          </a:xfrm>
        </p:spPr>
        <p:txBody>
          <a:bodyPr anchor="ctr">
            <a:spAutoFit/>
          </a:bodyPr>
          <a:lstStyle>
            <a:lvl1pPr marL="457200" indent="-457200">
              <a:buFont typeface="+mj-lt"/>
              <a:buAutoNum type="arabicPeriod"/>
              <a:defRPr sz="2400" baseline="0"/>
            </a:lvl1pPr>
            <a:lvl2pPr marL="358775" indent="0">
              <a:buFont typeface="+mj-lt"/>
              <a:buNone/>
              <a:defRPr sz="2400"/>
            </a:lvl2pPr>
            <a:lvl3pPr marL="457200" indent="-457200">
              <a:buFont typeface="+mj-lt"/>
              <a:buAutoNum type="arabicPeriod"/>
              <a:defRPr sz="2400"/>
            </a:lvl3pPr>
            <a:lvl4pPr marL="457200" indent="-457200">
              <a:buFont typeface="+mj-lt"/>
              <a:buAutoNum type="arabicPeriod"/>
              <a:defRPr sz="2400"/>
            </a:lvl4pPr>
            <a:lvl5pPr marL="457200" indent="-457200">
              <a:buFont typeface="+mj-lt"/>
              <a:buAutoNum type="arabicPeriod"/>
              <a:defRPr sz="2400"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96623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// F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de-DE" sz="32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2" name="Rechteck 9">
            <a:extLst>
              <a:ext uri="{FF2B5EF4-FFF2-40B4-BE49-F238E27FC236}">
                <a16:creationId xmlns:a16="http://schemas.microsoft.com/office/drawing/2014/main" id="{FAF66208-BE51-4383-B61E-7C1B1F88E877}"/>
              </a:ext>
            </a:extLst>
          </p:cNvPr>
          <p:cNvSpPr/>
          <p:nvPr userDrawn="1"/>
        </p:nvSpPr>
        <p:spPr>
          <a:xfrm>
            <a:off x="353291" y="336550"/>
            <a:ext cx="11485419" cy="618807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lang="de-DE" kern="0" dirty="0">
              <a:solidFill>
                <a:srgbClr val="FFFFFF"/>
              </a:solidFill>
              <a:latin typeface="Arial Regular"/>
            </a:endParaRPr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563CB5D8-D2C9-495A-93FD-C17AF9B306F0}"/>
              </a:ext>
            </a:extLst>
          </p:cNvPr>
          <p:cNvSpPr/>
          <p:nvPr userDrawn="1"/>
        </p:nvSpPr>
        <p:spPr>
          <a:xfrm>
            <a:off x="8475451" y="3886646"/>
            <a:ext cx="3194306" cy="2648659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chemeClr val="bg1">
              <a:alpha val="23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rgbClr val="FFFFF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A57404-7CC7-4DE1-B6B1-1CE4EC33F2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92413" y="2815748"/>
            <a:ext cx="6607175" cy="1477328"/>
          </a:xfrm>
        </p:spPr>
        <p:txBody>
          <a:bodyPr anchor="ctr">
            <a:noAutofit/>
          </a:bodyPr>
          <a:lstStyle>
            <a:lvl1pPr marL="0" indent="0">
              <a:buNone/>
              <a:defRPr sz="3200" kern="100" spc="0" baseline="0">
                <a:solidFill>
                  <a:schemeClr val="bg1"/>
                </a:solidFill>
              </a:defRPr>
            </a:lvl1pPr>
            <a:lvl2pPr marL="358775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308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A4A3A4"/>
          </p15:clr>
        </p15:guide>
        <p15:guide id="2" pos="483">
          <p15:clr>
            <a:srgbClr val="A4A3A4"/>
          </p15:clr>
        </p15:guide>
        <p15:guide id="3" orient="horz" pos="754">
          <p15:clr>
            <a:srgbClr val="A4A3A4"/>
          </p15:clr>
        </p15:guide>
        <p15:guide id="4" orient="horz" pos="640">
          <p15:clr>
            <a:srgbClr val="A4A3A4"/>
          </p15:clr>
        </p15:guide>
        <p15:guide id="5" orient="horz" pos="4065">
          <p15:clr>
            <a:srgbClr val="A4A3A4"/>
          </p15:clr>
        </p15:guide>
        <p15:guide id="6" pos="7197">
          <p15:clr>
            <a:srgbClr val="A4A3A4"/>
          </p15:clr>
        </p15:guide>
        <p15:guide id="7" orient="horz" pos="4110">
          <p15:clr>
            <a:srgbClr val="F26B43"/>
          </p15:clr>
        </p15:guide>
        <p15:guide id="8" pos="226">
          <p15:clr>
            <a:srgbClr val="F26B43"/>
          </p15:clr>
        </p15:guide>
        <p15:guide id="9" pos="7452">
          <p15:clr>
            <a:srgbClr val="F26B43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//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6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de-DE" sz="32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82F7FFF-4C5B-4019-9384-D49F46D526EB}"/>
              </a:ext>
            </a:extLst>
          </p:cNvPr>
          <p:cNvGrpSpPr/>
          <p:nvPr/>
        </p:nvGrpSpPr>
        <p:grpSpPr>
          <a:xfrm>
            <a:off x="218788" y="4130611"/>
            <a:ext cx="11754424" cy="2396064"/>
            <a:chOff x="705451" y="5067472"/>
            <a:chExt cx="11671993" cy="2379260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8586F8AD-DF01-425F-82E1-C7B3B54D2332}"/>
                </a:ext>
              </a:extLst>
            </p:cNvPr>
            <p:cNvGrpSpPr/>
            <p:nvPr/>
          </p:nvGrpSpPr>
          <p:grpSpPr>
            <a:xfrm>
              <a:off x="705451" y="5067472"/>
              <a:ext cx="11671993" cy="2379260"/>
              <a:chOff x="833963" y="4724559"/>
              <a:chExt cx="13798285" cy="2812691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D9BEDEC5-A311-4772-8ED2-5EF31FB83501}"/>
                  </a:ext>
                </a:extLst>
              </p:cNvPr>
              <p:cNvSpPr/>
              <p:nvPr/>
            </p:nvSpPr>
            <p:spPr>
              <a:xfrm>
                <a:off x="833963" y="4724559"/>
                <a:ext cx="13276469" cy="2812690"/>
              </a:xfrm>
              <a:prstGeom prst="rect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914400">
                  <a:defRPr/>
                </a:pPr>
                <a:endParaRPr lang="de-DE" kern="0" dirty="0">
                  <a:solidFill>
                    <a:srgbClr val="FFFFFF"/>
                  </a:solidFill>
                  <a:latin typeface="Arial Regular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FE7D64E6-1F9F-4943-B9B8-CBECB838132F}"/>
                  </a:ext>
                </a:extLst>
              </p:cNvPr>
              <p:cNvSpPr/>
              <p:nvPr/>
            </p:nvSpPr>
            <p:spPr>
              <a:xfrm>
                <a:off x="10883494" y="4724560"/>
                <a:ext cx="3748754" cy="2812690"/>
              </a:xfrm>
              <a:prstGeom prst="rect">
                <a:avLst/>
              </a:prstGeom>
              <a:solidFill>
                <a:schemeClr val="tx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914400">
                  <a:defRPr/>
                </a:pPr>
                <a:endParaRPr lang="de-DE" kern="0" dirty="0">
                  <a:solidFill>
                    <a:srgbClr val="FFFFFF"/>
                  </a:solidFill>
                  <a:latin typeface="Arial Regular"/>
                </a:endParaRPr>
              </a:p>
            </p:txBody>
          </p:sp>
        </p:grpSp>
        <p:sp>
          <p:nvSpPr>
            <p:cNvPr id="17" name="Freeform 38">
              <a:extLst>
                <a:ext uri="{FF2B5EF4-FFF2-40B4-BE49-F238E27FC236}">
                  <a16:creationId xmlns:a16="http://schemas.microsoft.com/office/drawing/2014/main" id="{DB665266-C462-42A5-A4D5-0A4E4B3C8209}"/>
                </a:ext>
              </a:extLst>
            </p:cNvPr>
            <p:cNvSpPr/>
            <p:nvPr/>
          </p:nvSpPr>
          <p:spPr>
            <a:xfrm rot="10800000">
              <a:off x="7015354" y="5067473"/>
              <a:ext cx="3171078" cy="2379259"/>
            </a:xfrm>
            <a:custGeom>
              <a:avLst/>
              <a:gdLst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877803 w 2327681"/>
                <a:gd name="connsiteY2" fmla="*/ 1443354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7681" h="1443354">
                  <a:moveTo>
                    <a:pt x="0" y="0"/>
                  </a:moveTo>
                  <a:lnTo>
                    <a:pt x="2327681" y="0"/>
                  </a:lnTo>
                  <a:lnTo>
                    <a:pt x="877803" y="1443354"/>
                  </a:lnTo>
                  <a:lnTo>
                    <a:pt x="0" y="14433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defTabSz="914400">
                <a:defRPr/>
              </a:pPr>
              <a:endParaRPr lang="de-DE" kern="0" dirty="0">
                <a:solidFill>
                  <a:srgbClr val="FFFFFF"/>
                </a:solidFill>
                <a:latin typeface="Arial Regular"/>
              </a:endParaRPr>
            </a:p>
          </p:txBody>
        </p:sp>
      </p:grp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B74C0010-5739-4C1C-9594-DB2D0795E53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53291 w 12192000"/>
              <a:gd name="connsiteY0" fmla="*/ 4130612 h 6858000"/>
              <a:gd name="connsiteX1" fmla="*/ 353291 w 12192000"/>
              <a:gd name="connsiteY1" fmla="*/ 6524625 h 6858000"/>
              <a:gd name="connsiteX2" fmla="*/ 11838710 w 12192000"/>
              <a:gd name="connsiteY2" fmla="*/ 6524625 h 6858000"/>
              <a:gd name="connsiteX3" fmla="*/ 11838710 w 12192000"/>
              <a:gd name="connsiteY3" fmla="*/ 4130612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53291" y="4130612"/>
                </a:moveTo>
                <a:lnTo>
                  <a:pt x="353291" y="6524625"/>
                </a:lnTo>
                <a:lnTo>
                  <a:pt x="11838710" y="6524625"/>
                </a:lnTo>
                <a:lnTo>
                  <a:pt x="11838710" y="413061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20" name="Freeform 41">
            <a:extLst>
              <a:ext uri="{FF2B5EF4-FFF2-40B4-BE49-F238E27FC236}">
                <a16:creationId xmlns:a16="http://schemas.microsoft.com/office/drawing/2014/main" id="{1E5B25EA-22B1-4940-A934-A419BAD5BEFE}"/>
              </a:ext>
            </a:extLst>
          </p:cNvPr>
          <p:cNvSpPr/>
          <p:nvPr userDrawn="1"/>
        </p:nvSpPr>
        <p:spPr>
          <a:xfrm>
            <a:off x="9034179" y="4306161"/>
            <a:ext cx="2639923" cy="2188975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rgbClr val="FFFFFF"/>
              </a:solidFill>
            </a:endParaRPr>
          </a:p>
        </p:txBody>
      </p:sp>
      <p:pic>
        <p:nvPicPr>
          <p:cNvPr id="21" name="Grafik 7">
            <a:extLst>
              <a:ext uri="{FF2B5EF4-FFF2-40B4-BE49-F238E27FC236}">
                <a16:creationId xmlns:a16="http://schemas.microsoft.com/office/drawing/2014/main" id="{B347AC67-6751-45BD-920D-C7678E7227D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2919" y="4670750"/>
            <a:ext cx="3007747" cy="503746"/>
          </a:xfrm>
          <a:prstGeom prst="rect">
            <a:avLst/>
          </a:prstGeom>
        </p:spPr>
      </p:pic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19B77B6-560F-4AB3-8F49-584C755101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4713" y="4589979"/>
            <a:ext cx="6607175" cy="1477328"/>
          </a:xfrm>
        </p:spPr>
        <p:txBody>
          <a:bodyPr anchor="ctr">
            <a:noAutofit/>
          </a:bodyPr>
          <a:lstStyle>
            <a:lvl1pPr marL="0" indent="0">
              <a:buNone/>
              <a:defRPr sz="3200" kern="100" spc="0" baseline="0">
                <a:solidFill>
                  <a:schemeClr val="bg1"/>
                </a:solidFill>
              </a:defRPr>
            </a:lvl1pPr>
            <a:lvl2pPr marL="358775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12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A4A3A4"/>
          </p15:clr>
        </p15:guide>
        <p15:guide id="2" pos="483">
          <p15:clr>
            <a:srgbClr val="A4A3A4"/>
          </p15:clr>
        </p15:guide>
        <p15:guide id="3" orient="horz" pos="754">
          <p15:clr>
            <a:srgbClr val="A4A3A4"/>
          </p15:clr>
        </p15:guide>
        <p15:guide id="4" orient="horz" pos="640">
          <p15:clr>
            <a:srgbClr val="A4A3A4"/>
          </p15:clr>
        </p15:guide>
        <p15:guide id="5" orient="horz" pos="4065">
          <p15:clr>
            <a:srgbClr val="A4A3A4"/>
          </p15:clr>
        </p15:guide>
        <p15:guide id="6" pos="7197">
          <p15:clr>
            <a:srgbClr val="A4A3A4"/>
          </p15:clr>
        </p15:guide>
        <p15:guide id="7" orient="horz" pos="4110">
          <p15:clr>
            <a:srgbClr val="F26B43"/>
          </p15:clr>
        </p15:guide>
        <p15:guide id="8" pos="226">
          <p15:clr>
            <a:srgbClr val="F26B43"/>
          </p15:clr>
        </p15:guide>
        <p15:guide id="9" pos="7452">
          <p15:clr>
            <a:srgbClr val="F26B43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mit Partnerlogo //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de-DE" sz="32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grpSp>
        <p:nvGrpSpPr>
          <p:cNvPr id="29" name="Group 13">
            <a:extLst>
              <a:ext uri="{FF2B5EF4-FFF2-40B4-BE49-F238E27FC236}">
                <a16:creationId xmlns:a16="http://schemas.microsoft.com/office/drawing/2014/main" id="{335203DB-BB95-45FD-92B6-E081F17DE4F9}"/>
              </a:ext>
            </a:extLst>
          </p:cNvPr>
          <p:cNvGrpSpPr/>
          <p:nvPr userDrawn="1"/>
        </p:nvGrpSpPr>
        <p:grpSpPr>
          <a:xfrm>
            <a:off x="218788" y="4130611"/>
            <a:ext cx="11754424" cy="2396064"/>
            <a:chOff x="705451" y="5067472"/>
            <a:chExt cx="11671993" cy="2379260"/>
          </a:xfrm>
        </p:grpSpPr>
        <p:grpSp>
          <p:nvGrpSpPr>
            <p:cNvPr id="30" name="Group 15">
              <a:extLst>
                <a:ext uri="{FF2B5EF4-FFF2-40B4-BE49-F238E27FC236}">
                  <a16:creationId xmlns:a16="http://schemas.microsoft.com/office/drawing/2014/main" id="{AAA4E5A4-94CD-4627-AE97-DEF771CC8485}"/>
                </a:ext>
              </a:extLst>
            </p:cNvPr>
            <p:cNvGrpSpPr/>
            <p:nvPr/>
          </p:nvGrpSpPr>
          <p:grpSpPr>
            <a:xfrm>
              <a:off x="705451" y="5067472"/>
              <a:ext cx="11671993" cy="2379260"/>
              <a:chOff x="833963" y="4724559"/>
              <a:chExt cx="13798285" cy="2812691"/>
            </a:xfrm>
          </p:grpSpPr>
          <p:sp>
            <p:nvSpPr>
              <p:cNvPr id="32" name="Rectangle 17">
                <a:extLst>
                  <a:ext uri="{FF2B5EF4-FFF2-40B4-BE49-F238E27FC236}">
                    <a16:creationId xmlns:a16="http://schemas.microsoft.com/office/drawing/2014/main" id="{49DF0C5F-5F84-4CEC-84D6-C9910C47507D}"/>
                  </a:ext>
                </a:extLst>
              </p:cNvPr>
              <p:cNvSpPr/>
              <p:nvPr/>
            </p:nvSpPr>
            <p:spPr>
              <a:xfrm>
                <a:off x="833963" y="4724559"/>
                <a:ext cx="13276469" cy="2812690"/>
              </a:xfrm>
              <a:prstGeom prst="rect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914400">
                  <a:defRPr/>
                </a:pPr>
                <a:endParaRPr lang="de-DE" kern="0" dirty="0">
                  <a:solidFill>
                    <a:srgbClr val="FFFFFF"/>
                  </a:solidFill>
                  <a:latin typeface="Arial Regular"/>
                </a:endParaRPr>
              </a:p>
            </p:txBody>
          </p:sp>
          <p:sp>
            <p:nvSpPr>
              <p:cNvPr id="33" name="Rectangle 18">
                <a:extLst>
                  <a:ext uri="{FF2B5EF4-FFF2-40B4-BE49-F238E27FC236}">
                    <a16:creationId xmlns:a16="http://schemas.microsoft.com/office/drawing/2014/main" id="{5C7CF1D4-9F77-4732-A3CE-9212756F6675}"/>
                  </a:ext>
                </a:extLst>
              </p:cNvPr>
              <p:cNvSpPr/>
              <p:nvPr/>
            </p:nvSpPr>
            <p:spPr>
              <a:xfrm>
                <a:off x="10883494" y="4724560"/>
                <a:ext cx="3748754" cy="2812690"/>
              </a:xfrm>
              <a:prstGeom prst="rect">
                <a:avLst/>
              </a:prstGeom>
              <a:solidFill>
                <a:schemeClr val="tx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914400">
                  <a:defRPr/>
                </a:pPr>
                <a:endParaRPr lang="de-DE" kern="0" dirty="0">
                  <a:solidFill>
                    <a:srgbClr val="FFFFFF"/>
                  </a:solidFill>
                  <a:latin typeface="Arial Regular"/>
                </a:endParaRPr>
              </a:p>
            </p:txBody>
          </p:sp>
        </p:grpSp>
        <p:sp>
          <p:nvSpPr>
            <p:cNvPr id="31" name="Freeform 38">
              <a:extLst>
                <a:ext uri="{FF2B5EF4-FFF2-40B4-BE49-F238E27FC236}">
                  <a16:creationId xmlns:a16="http://schemas.microsoft.com/office/drawing/2014/main" id="{1B2B8562-DFB8-4D2A-A47E-0EBC958016A1}"/>
                </a:ext>
              </a:extLst>
            </p:cNvPr>
            <p:cNvSpPr/>
            <p:nvPr/>
          </p:nvSpPr>
          <p:spPr>
            <a:xfrm rot="10800000">
              <a:off x="7015354" y="5067473"/>
              <a:ext cx="3171078" cy="2379259"/>
            </a:xfrm>
            <a:custGeom>
              <a:avLst/>
              <a:gdLst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877803 w 2327681"/>
                <a:gd name="connsiteY2" fmla="*/ 1443354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7681" h="1443354">
                  <a:moveTo>
                    <a:pt x="0" y="0"/>
                  </a:moveTo>
                  <a:lnTo>
                    <a:pt x="2327681" y="0"/>
                  </a:lnTo>
                  <a:lnTo>
                    <a:pt x="877803" y="1443354"/>
                  </a:lnTo>
                  <a:lnTo>
                    <a:pt x="0" y="14433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defTabSz="914400">
                <a:defRPr/>
              </a:pPr>
              <a:endParaRPr lang="de-DE" kern="0" dirty="0">
                <a:solidFill>
                  <a:srgbClr val="FFFFFF"/>
                </a:solidFill>
                <a:latin typeface="Arial Regular"/>
              </a:endParaRPr>
            </a:p>
          </p:txBody>
        </p:sp>
      </p:grpSp>
      <p:grpSp>
        <p:nvGrpSpPr>
          <p:cNvPr id="15" name="Group 13">
            <a:extLst>
              <a:ext uri="{FF2B5EF4-FFF2-40B4-BE49-F238E27FC236}">
                <a16:creationId xmlns:a16="http://schemas.microsoft.com/office/drawing/2014/main" id="{87F5A82D-EEDB-48C0-9382-EE0628DDB34F}"/>
              </a:ext>
            </a:extLst>
          </p:cNvPr>
          <p:cNvGrpSpPr/>
          <p:nvPr userDrawn="1"/>
        </p:nvGrpSpPr>
        <p:grpSpPr>
          <a:xfrm>
            <a:off x="359290" y="4130611"/>
            <a:ext cx="11613922" cy="2396064"/>
            <a:chOff x="844968" y="5067472"/>
            <a:chExt cx="11532476" cy="2379260"/>
          </a:xfrm>
        </p:grpSpPr>
        <p:grpSp>
          <p:nvGrpSpPr>
            <p:cNvPr id="22" name="Group 15">
              <a:extLst>
                <a:ext uri="{FF2B5EF4-FFF2-40B4-BE49-F238E27FC236}">
                  <a16:creationId xmlns:a16="http://schemas.microsoft.com/office/drawing/2014/main" id="{0C85F3B6-DE09-41F2-92AB-4AF818562994}"/>
                </a:ext>
              </a:extLst>
            </p:cNvPr>
            <p:cNvGrpSpPr/>
            <p:nvPr/>
          </p:nvGrpSpPr>
          <p:grpSpPr>
            <a:xfrm>
              <a:off x="844968" y="5067472"/>
              <a:ext cx="11532476" cy="2379260"/>
              <a:chOff x="998896" y="4724559"/>
              <a:chExt cx="13633352" cy="2812691"/>
            </a:xfrm>
          </p:grpSpPr>
          <p:sp>
            <p:nvSpPr>
              <p:cNvPr id="27" name="Rectangle 17">
                <a:extLst>
                  <a:ext uri="{FF2B5EF4-FFF2-40B4-BE49-F238E27FC236}">
                    <a16:creationId xmlns:a16="http://schemas.microsoft.com/office/drawing/2014/main" id="{9D1197FA-2349-4878-8140-4CBC5EC9E534}"/>
                  </a:ext>
                </a:extLst>
              </p:cNvPr>
              <p:cNvSpPr/>
              <p:nvPr/>
            </p:nvSpPr>
            <p:spPr>
              <a:xfrm>
                <a:off x="998896" y="4724559"/>
                <a:ext cx="13111536" cy="2812690"/>
              </a:xfrm>
              <a:prstGeom prst="rect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914400">
                  <a:defRPr/>
                </a:pPr>
                <a:endParaRPr lang="de-DE" kern="0" dirty="0">
                  <a:solidFill>
                    <a:srgbClr val="FFFFFF"/>
                  </a:solidFill>
                  <a:latin typeface="Arial Regular"/>
                </a:endParaRPr>
              </a:p>
            </p:txBody>
          </p:sp>
          <p:sp>
            <p:nvSpPr>
              <p:cNvPr id="28" name="Rectangle 18">
                <a:extLst>
                  <a:ext uri="{FF2B5EF4-FFF2-40B4-BE49-F238E27FC236}">
                    <a16:creationId xmlns:a16="http://schemas.microsoft.com/office/drawing/2014/main" id="{5CD863F0-DA7E-4ED3-9AFB-3FC439CFDF59}"/>
                  </a:ext>
                </a:extLst>
              </p:cNvPr>
              <p:cNvSpPr/>
              <p:nvPr/>
            </p:nvSpPr>
            <p:spPr>
              <a:xfrm>
                <a:off x="10883494" y="4724560"/>
                <a:ext cx="3748754" cy="2812690"/>
              </a:xfrm>
              <a:prstGeom prst="rect">
                <a:avLst/>
              </a:prstGeom>
              <a:solidFill>
                <a:schemeClr val="tx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914400">
                  <a:defRPr/>
                </a:pPr>
                <a:endParaRPr lang="de-DE" kern="0" dirty="0">
                  <a:solidFill>
                    <a:srgbClr val="FFFFFF"/>
                  </a:solidFill>
                  <a:latin typeface="Arial Regular"/>
                </a:endParaRPr>
              </a:p>
            </p:txBody>
          </p:sp>
        </p:grpSp>
        <p:sp>
          <p:nvSpPr>
            <p:cNvPr id="24" name="Freeform 38">
              <a:extLst>
                <a:ext uri="{FF2B5EF4-FFF2-40B4-BE49-F238E27FC236}">
                  <a16:creationId xmlns:a16="http://schemas.microsoft.com/office/drawing/2014/main" id="{725F7311-C3D1-45E1-B266-854264697917}"/>
                </a:ext>
              </a:extLst>
            </p:cNvPr>
            <p:cNvSpPr/>
            <p:nvPr/>
          </p:nvSpPr>
          <p:spPr>
            <a:xfrm rot="10800000">
              <a:off x="7015354" y="5067473"/>
              <a:ext cx="3171078" cy="2379259"/>
            </a:xfrm>
            <a:custGeom>
              <a:avLst/>
              <a:gdLst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877803 w 2327681"/>
                <a:gd name="connsiteY2" fmla="*/ 1443354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7681" h="1443354">
                  <a:moveTo>
                    <a:pt x="0" y="0"/>
                  </a:moveTo>
                  <a:lnTo>
                    <a:pt x="2327681" y="0"/>
                  </a:lnTo>
                  <a:lnTo>
                    <a:pt x="877803" y="1443354"/>
                  </a:lnTo>
                  <a:lnTo>
                    <a:pt x="0" y="14433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defTabSz="914400">
                <a:defRPr/>
              </a:pPr>
              <a:endParaRPr lang="de-DE" kern="0" dirty="0">
                <a:solidFill>
                  <a:srgbClr val="FFFFFF"/>
                </a:solidFill>
                <a:latin typeface="Arial Regular"/>
              </a:endParaRPr>
            </a:p>
          </p:txBody>
        </p:sp>
      </p:grp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B74C0010-5739-4C1C-9594-DB2D0795E53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53291 w 12192000"/>
              <a:gd name="connsiteY0" fmla="*/ 4130612 h 6858000"/>
              <a:gd name="connsiteX1" fmla="*/ 353291 w 12192000"/>
              <a:gd name="connsiteY1" fmla="*/ 6524625 h 6858000"/>
              <a:gd name="connsiteX2" fmla="*/ 11838710 w 12192000"/>
              <a:gd name="connsiteY2" fmla="*/ 6524625 h 6858000"/>
              <a:gd name="connsiteX3" fmla="*/ 11838710 w 12192000"/>
              <a:gd name="connsiteY3" fmla="*/ 4130612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53291" y="4130612"/>
                </a:moveTo>
                <a:lnTo>
                  <a:pt x="353291" y="6524625"/>
                </a:lnTo>
                <a:lnTo>
                  <a:pt x="11838710" y="6524625"/>
                </a:lnTo>
                <a:lnTo>
                  <a:pt x="11838710" y="413061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20" name="Freeform 41">
            <a:extLst>
              <a:ext uri="{FF2B5EF4-FFF2-40B4-BE49-F238E27FC236}">
                <a16:creationId xmlns:a16="http://schemas.microsoft.com/office/drawing/2014/main" id="{1E5B25EA-22B1-4940-A934-A419BAD5BEFE}"/>
              </a:ext>
            </a:extLst>
          </p:cNvPr>
          <p:cNvSpPr/>
          <p:nvPr userDrawn="1"/>
        </p:nvSpPr>
        <p:spPr>
          <a:xfrm>
            <a:off x="9034179" y="4306161"/>
            <a:ext cx="2639923" cy="2188975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rgbClr val="FFFFFF"/>
              </a:solidFill>
            </a:endParaRPr>
          </a:p>
        </p:txBody>
      </p:sp>
      <p:pic>
        <p:nvPicPr>
          <p:cNvPr id="21" name="Grafik 7">
            <a:extLst>
              <a:ext uri="{FF2B5EF4-FFF2-40B4-BE49-F238E27FC236}">
                <a16:creationId xmlns:a16="http://schemas.microsoft.com/office/drawing/2014/main" id="{B347AC67-6751-45BD-920D-C7678E7227D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2919" y="4670750"/>
            <a:ext cx="3007747" cy="503746"/>
          </a:xfrm>
          <a:prstGeom prst="rect">
            <a:avLst/>
          </a:prstGeom>
        </p:spPr>
      </p:pic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135A0093-C8EA-44AF-B4B0-FF9BBF7FEE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4713" y="4589979"/>
            <a:ext cx="6607175" cy="1477328"/>
          </a:xfrm>
        </p:spPr>
        <p:txBody>
          <a:bodyPr anchor="ctr">
            <a:noAutofit/>
          </a:bodyPr>
          <a:lstStyle>
            <a:lvl1pPr marL="0" indent="0">
              <a:buNone/>
              <a:defRPr sz="3200" kern="100" spc="0" baseline="0">
                <a:solidFill>
                  <a:schemeClr val="bg1"/>
                </a:solidFill>
              </a:defRPr>
            </a:lvl1pPr>
            <a:lvl2pPr marL="358775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6C0C2256-F31B-4578-8FDF-D88F94784B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582025" y="5438409"/>
            <a:ext cx="2206625" cy="552450"/>
          </a:xfrm>
          <a:custGeom>
            <a:avLst/>
            <a:gdLst>
              <a:gd name="connsiteX0" fmla="*/ 92077 w 2206625"/>
              <a:gd name="connsiteY0" fmla="*/ 0 h 552450"/>
              <a:gd name="connsiteX1" fmla="*/ 2114548 w 2206625"/>
              <a:gd name="connsiteY1" fmla="*/ 0 h 552450"/>
              <a:gd name="connsiteX2" fmla="*/ 2206625 w 2206625"/>
              <a:gd name="connsiteY2" fmla="*/ 92077 h 552450"/>
              <a:gd name="connsiteX3" fmla="*/ 2206625 w 2206625"/>
              <a:gd name="connsiteY3" fmla="*/ 460373 h 552450"/>
              <a:gd name="connsiteX4" fmla="*/ 2114548 w 2206625"/>
              <a:gd name="connsiteY4" fmla="*/ 552450 h 552450"/>
              <a:gd name="connsiteX5" fmla="*/ 92077 w 2206625"/>
              <a:gd name="connsiteY5" fmla="*/ 552450 h 552450"/>
              <a:gd name="connsiteX6" fmla="*/ 0 w 2206625"/>
              <a:gd name="connsiteY6" fmla="*/ 460373 h 552450"/>
              <a:gd name="connsiteX7" fmla="*/ 0 w 2206625"/>
              <a:gd name="connsiteY7" fmla="*/ 92077 h 552450"/>
              <a:gd name="connsiteX8" fmla="*/ 92077 w 2206625"/>
              <a:gd name="connsiteY8" fmla="*/ 0 h 552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06625" h="552450">
                <a:moveTo>
                  <a:pt x="92077" y="0"/>
                </a:moveTo>
                <a:lnTo>
                  <a:pt x="2114548" y="0"/>
                </a:lnTo>
                <a:cubicBezTo>
                  <a:pt x="2165401" y="0"/>
                  <a:pt x="2206625" y="41224"/>
                  <a:pt x="2206625" y="92077"/>
                </a:cubicBezTo>
                <a:lnTo>
                  <a:pt x="2206625" y="460373"/>
                </a:lnTo>
                <a:cubicBezTo>
                  <a:pt x="2206625" y="511226"/>
                  <a:pt x="2165401" y="552450"/>
                  <a:pt x="2114548" y="552450"/>
                </a:cubicBezTo>
                <a:lnTo>
                  <a:pt x="92077" y="552450"/>
                </a:lnTo>
                <a:cubicBezTo>
                  <a:pt x="41224" y="552450"/>
                  <a:pt x="0" y="511226"/>
                  <a:pt x="0" y="460373"/>
                </a:cubicBezTo>
                <a:lnTo>
                  <a:pt x="0" y="92077"/>
                </a:lnTo>
                <a:cubicBezTo>
                  <a:pt x="0" y="41224"/>
                  <a:pt x="41224" y="0"/>
                  <a:pt x="92077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89457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A4A3A4"/>
          </p15:clr>
        </p15:guide>
        <p15:guide id="2" pos="483">
          <p15:clr>
            <a:srgbClr val="A4A3A4"/>
          </p15:clr>
        </p15:guide>
        <p15:guide id="3" orient="horz" pos="754">
          <p15:clr>
            <a:srgbClr val="A4A3A4"/>
          </p15:clr>
        </p15:guide>
        <p15:guide id="4" orient="horz" pos="640">
          <p15:clr>
            <a:srgbClr val="A4A3A4"/>
          </p15:clr>
        </p15:guide>
        <p15:guide id="5" orient="horz" pos="4065">
          <p15:clr>
            <a:srgbClr val="A4A3A4"/>
          </p15:clr>
        </p15:guide>
        <p15:guide id="6" pos="7197">
          <p15:clr>
            <a:srgbClr val="A4A3A4"/>
          </p15:clr>
        </p15:guide>
        <p15:guide id="7" orient="horz" pos="4110">
          <p15:clr>
            <a:srgbClr val="F26B43"/>
          </p15:clr>
        </p15:guide>
        <p15:guide id="8" pos="226">
          <p15:clr>
            <a:srgbClr val="F26B43"/>
          </p15:clr>
        </p15:guide>
        <p15:guide id="9" pos="7452">
          <p15:clr>
            <a:srgbClr val="F26B43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folie // Bilplatzhalter mit Text (1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662DB07-81B8-4BDA-8345-7D0D9D3C5C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10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7AFB56EF-E792-40E5-AEB2-936FD2D0D4D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661991 w 12192000"/>
              <a:gd name="connsiteY0" fmla="*/ 339114 h 6858000"/>
              <a:gd name="connsiteX1" fmla="*/ 1 w 12192000"/>
              <a:gd name="connsiteY1" fmla="*/ 410557 h 6858000"/>
              <a:gd name="connsiteX2" fmla="*/ 1 w 12192000"/>
              <a:gd name="connsiteY2" fmla="*/ 421468 h 6858000"/>
              <a:gd name="connsiteX3" fmla="*/ 1 w 12192000"/>
              <a:gd name="connsiteY3" fmla="*/ 426812 h 6858000"/>
              <a:gd name="connsiteX4" fmla="*/ 1 w 12192000"/>
              <a:gd name="connsiteY4" fmla="*/ 445011 h 6858000"/>
              <a:gd name="connsiteX5" fmla="*/ 1 w 12192000"/>
              <a:gd name="connsiteY5" fmla="*/ 465201 h 6858000"/>
              <a:gd name="connsiteX6" fmla="*/ 1 w 12192000"/>
              <a:gd name="connsiteY6" fmla="*/ 470545 h 6858000"/>
              <a:gd name="connsiteX7" fmla="*/ 1 w 12192000"/>
              <a:gd name="connsiteY7" fmla="*/ 490176 h 6858000"/>
              <a:gd name="connsiteX8" fmla="*/ 1 w 12192000"/>
              <a:gd name="connsiteY8" fmla="*/ 510367 h 6858000"/>
              <a:gd name="connsiteX9" fmla="*/ 1 w 12192000"/>
              <a:gd name="connsiteY9" fmla="*/ 515710 h 6858000"/>
              <a:gd name="connsiteX10" fmla="*/ 1 w 12192000"/>
              <a:gd name="connsiteY10" fmla="*/ 523515 h 6858000"/>
              <a:gd name="connsiteX11" fmla="*/ 1 w 12192000"/>
              <a:gd name="connsiteY11" fmla="*/ 533909 h 6858000"/>
              <a:gd name="connsiteX12" fmla="*/ 1 w 12192000"/>
              <a:gd name="connsiteY12" fmla="*/ 543706 h 6858000"/>
              <a:gd name="connsiteX13" fmla="*/ 1 w 12192000"/>
              <a:gd name="connsiteY13" fmla="*/ 549050 h 6858000"/>
              <a:gd name="connsiteX14" fmla="*/ 1 w 12192000"/>
              <a:gd name="connsiteY14" fmla="*/ 554100 h 6858000"/>
              <a:gd name="connsiteX15" fmla="*/ 1 w 12192000"/>
              <a:gd name="connsiteY15" fmla="*/ 559443 h 6858000"/>
              <a:gd name="connsiteX16" fmla="*/ 1 w 12192000"/>
              <a:gd name="connsiteY16" fmla="*/ 567248 h 6858000"/>
              <a:gd name="connsiteX17" fmla="*/ 1 w 12192000"/>
              <a:gd name="connsiteY17" fmla="*/ 587439 h 6858000"/>
              <a:gd name="connsiteX18" fmla="*/ 1 w 12192000"/>
              <a:gd name="connsiteY18" fmla="*/ 592783 h 6858000"/>
              <a:gd name="connsiteX19" fmla="*/ 1 w 12192000"/>
              <a:gd name="connsiteY19" fmla="*/ 612414 h 6858000"/>
              <a:gd name="connsiteX20" fmla="*/ 1 w 12192000"/>
              <a:gd name="connsiteY20" fmla="*/ 632604 h 6858000"/>
              <a:gd name="connsiteX21" fmla="*/ 1 w 12192000"/>
              <a:gd name="connsiteY21" fmla="*/ 637948 h 6858000"/>
              <a:gd name="connsiteX22" fmla="*/ 1 w 12192000"/>
              <a:gd name="connsiteY22" fmla="*/ 656147 h 6858000"/>
              <a:gd name="connsiteX23" fmla="*/ 1 w 12192000"/>
              <a:gd name="connsiteY23" fmla="*/ 676337 h 6858000"/>
              <a:gd name="connsiteX24" fmla="*/ 1 w 12192000"/>
              <a:gd name="connsiteY24" fmla="*/ 681681 h 6858000"/>
              <a:gd name="connsiteX25" fmla="*/ 1 w 12192000"/>
              <a:gd name="connsiteY25" fmla="*/ 744823 h 6858000"/>
              <a:gd name="connsiteX26" fmla="*/ 1 w 12192000"/>
              <a:gd name="connsiteY26" fmla="*/ 744923 h 6858000"/>
              <a:gd name="connsiteX27" fmla="*/ 1 w 12192000"/>
              <a:gd name="connsiteY27" fmla="*/ 788556 h 6858000"/>
              <a:gd name="connsiteX28" fmla="*/ 1 w 12192000"/>
              <a:gd name="connsiteY28" fmla="*/ 788656 h 6858000"/>
              <a:gd name="connsiteX29" fmla="*/ 1 w 12192000"/>
              <a:gd name="connsiteY29" fmla="*/ 806425 h 6858000"/>
              <a:gd name="connsiteX30" fmla="*/ 1 w 12192000"/>
              <a:gd name="connsiteY30" fmla="*/ 826616 h 6858000"/>
              <a:gd name="connsiteX31" fmla="*/ 1 w 12192000"/>
              <a:gd name="connsiteY31" fmla="*/ 833721 h 6858000"/>
              <a:gd name="connsiteX32" fmla="*/ 1 w 12192000"/>
              <a:gd name="connsiteY32" fmla="*/ 833821 h 6858000"/>
              <a:gd name="connsiteX33" fmla="*/ 1 w 12192000"/>
              <a:gd name="connsiteY33" fmla="*/ 850158 h 6858000"/>
              <a:gd name="connsiteX34" fmla="*/ 1 w 12192000"/>
              <a:gd name="connsiteY34" fmla="*/ 867061 h 6858000"/>
              <a:gd name="connsiteX35" fmla="*/ 1 w 12192000"/>
              <a:gd name="connsiteY35" fmla="*/ 867160 h 6858000"/>
              <a:gd name="connsiteX36" fmla="*/ 1 w 12192000"/>
              <a:gd name="connsiteY36" fmla="*/ 870349 h 6858000"/>
              <a:gd name="connsiteX37" fmla="*/ 1 w 12192000"/>
              <a:gd name="connsiteY37" fmla="*/ 877454 h 6858000"/>
              <a:gd name="connsiteX38" fmla="*/ 1 w 12192000"/>
              <a:gd name="connsiteY38" fmla="*/ 877554 h 6858000"/>
              <a:gd name="connsiteX39" fmla="*/ 1 w 12192000"/>
              <a:gd name="connsiteY39" fmla="*/ 895324 h 6858000"/>
              <a:gd name="connsiteX40" fmla="*/ 1 w 12192000"/>
              <a:gd name="connsiteY40" fmla="*/ 910794 h 6858000"/>
              <a:gd name="connsiteX41" fmla="*/ 1 w 12192000"/>
              <a:gd name="connsiteY41" fmla="*/ 910893 h 6858000"/>
              <a:gd name="connsiteX42" fmla="*/ 1 w 12192000"/>
              <a:gd name="connsiteY42" fmla="*/ 915514 h 6858000"/>
              <a:gd name="connsiteX43" fmla="*/ 1 w 12192000"/>
              <a:gd name="connsiteY43" fmla="*/ 928663 h 6858000"/>
              <a:gd name="connsiteX44" fmla="*/ 1 w 12192000"/>
              <a:gd name="connsiteY44" fmla="*/ 939057 h 6858000"/>
              <a:gd name="connsiteX45" fmla="*/ 1 w 12192000"/>
              <a:gd name="connsiteY45" fmla="*/ 948854 h 6858000"/>
              <a:gd name="connsiteX46" fmla="*/ 1 w 12192000"/>
              <a:gd name="connsiteY46" fmla="*/ 955959 h 6858000"/>
              <a:gd name="connsiteX47" fmla="*/ 1 w 12192000"/>
              <a:gd name="connsiteY47" fmla="*/ 956059 h 6858000"/>
              <a:gd name="connsiteX48" fmla="*/ 1 w 12192000"/>
              <a:gd name="connsiteY48" fmla="*/ 959247 h 6858000"/>
              <a:gd name="connsiteX49" fmla="*/ 1 w 12192000"/>
              <a:gd name="connsiteY49" fmla="*/ 972396 h 6858000"/>
              <a:gd name="connsiteX50" fmla="*/ 1 w 12192000"/>
              <a:gd name="connsiteY50" fmla="*/ 992587 h 6858000"/>
              <a:gd name="connsiteX51" fmla="*/ 1 w 12192000"/>
              <a:gd name="connsiteY51" fmla="*/ 999692 h 6858000"/>
              <a:gd name="connsiteX52" fmla="*/ 1 w 12192000"/>
              <a:gd name="connsiteY52" fmla="*/ 999792 h 6858000"/>
              <a:gd name="connsiteX53" fmla="*/ 1 w 12192000"/>
              <a:gd name="connsiteY53" fmla="*/ 1017561 h 6858000"/>
              <a:gd name="connsiteX54" fmla="*/ 1 w 12192000"/>
              <a:gd name="connsiteY54" fmla="*/ 1037752 h 6858000"/>
              <a:gd name="connsiteX55" fmla="*/ 1 w 12192000"/>
              <a:gd name="connsiteY55" fmla="*/ 1061294 h 6858000"/>
              <a:gd name="connsiteX56" fmla="*/ 1 w 12192000"/>
              <a:gd name="connsiteY56" fmla="*/ 1081485 h 6858000"/>
              <a:gd name="connsiteX57" fmla="*/ 661991 w 12192000"/>
              <a:gd name="connsiteY57" fmla="*/ 1010042 h 6858000"/>
              <a:gd name="connsiteX58" fmla="*/ 661991 w 12192000"/>
              <a:gd name="connsiteY58" fmla="*/ 999792 h 6858000"/>
              <a:gd name="connsiteX59" fmla="*/ 661991 w 12192000"/>
              <a:gd name="connsiteY59" fmla="*/ 999692 h 6858000"/>
              <a:gd name="connsiteX60" fmla="*/ 661991 w 12192000"/>
              <a:gd name="connsiteY60" fmla="*/ 989851 h 6858000"/>
              <a:gd name="connsiteX61" fmla="*/ 661991 w 12192000"/>
              <a:gd name="connsiteY61" fmla="*/ 976580 h 6858000"/>
              <a:gd name="connsiteX62" fmla="*/ 661991 w 12192000"/>
              <a:gd name="connsiteY62" fmla="*/ 966309 h 6858000"/>
              <a:gd name="connsiteX63" fmla="*/ 661991 w 12192000"/>
              <a:gd name="connsiteY63" fmla="*/ 956059 h 6858000"/>
              <a:gd name="connsiteX64" fmla="*/ 661991 w 12192000"/>
              <a:gd name="connsiteY64" fmla="*/ 955959 h 6858000"/>
              <a:gd name="connsiteX65" fmla="*/ 661991 w 12192000"/>
              <a:gd name="connsiteY65" fmla="*/ 946118 h 6858000"/>
              <a:gd name="connsiteX66" fmla="*/ 661991 w 12192000"/>
              <a:gd name="connsiteY66" fmla="*/ 932847 h 6858000"/>
              <a:gd name="connsiteX67" fmla="*/ 661991 w 12192000"/>
              <a:gd name="connsiteY67" fmla="*/ 921144 h 6858000"/>
              <a:gd name="connsiteX68" fmla="*/ 661991 w 12192000"/>
              <a:gd name="connsiteY68" fmla="*/ 915078 h 6858000"/>
              <a:gd name="connsiteX69" fmla="*/ 661991 w 12192000"/>
              <a:gd name="connsiteY69" fmla="*/ 910893 h 6858000"/>
              <a:gd name="connsiteX70" fmla="*/ 661991 w 12192000"/>
              <a:gd name="connsiteY70" fmla="*/ 910794 h 6858000"/>
              <a:gd name="connsiteX71" fmla="*/ 661991 w 12192000"/>
              <a:gd name="connsiteY71" fmla="*/ 900953 h 6858000"/>
              <a:gd name="connsiteX72" fmla="*/ 661991 w 12192000"/>
              <a:gd name="connsiteY72" fmla="*/ 894886 h 6858000"/>
              <a:gd name="connsiteX73" fmla="*/ 661991 w 12192000"/>
              <a:gd name="connsiteY73" fmla="*/ 887805 h 6858000"/>
              <a:gd name="connsiteX74" fmla="*/ 661991 w 12192000"/>
              <a:gd name="connsiteY74" fmla="*/ 887681 h 6858000"/>
              <a:gd name="connsiteX75" fmla="*/ 661991 w 12192000"/>
              <a:gd name="connsiteY75" fmla="*/ 877554 h 6858000"/>
              <a:gd name="connsiteX76" fmla="*/ 661991 w 12192000"/>
              <a:gd name="connsiteY76" fmla="*/ 877454 h 6858000"/>
              <a:gd name="connsiteX77" fmla="*/ 661991 w 12192000"/>
              <a:gd name="connsiteY77" fmla="*/ 877411 h 6858000"/>
              <a:gd name="connsiteX78" fmla="*/ 661991 w 12192000"/>
              <a:gd name="connsiteY78" fmla="*/ 871345 h 6858000"/>
              <a:gd name="connsiteX79" fmla="*/ 661991 w 12192000"/>
              <a:gd name="connsiteY79" fmla="*/ 867613 h 6858000"/>
              <a:gd name="connsiteX80" fmla="*/ 661991 w 12192000"/>
              <a:gd name="connsiteY80" fmla="*/ 867160 h 6858000"/>
              <a:gd name="connsiteX81" fmla="*/ 661991 w 12192000"/>
              <a:gd name="connsiteY81" fmla="*/ 867061 h 6858000"/>
              <a:gd name="connsiteX82" fmla="*/ 661991 w 12192000"/>
              <a:gd name="connsiteY82" fmla="*/ 857220 h 6858000"/>
              <a:gd name="connsiteX83" fmla="*/ 661991 w 12192000"/>
              <a:gd name="connsiteY83" fmla="*/ 854342 h 6858000"/>
              <a:gd name="connsiteX84" fmla="*/ 661991 w 12192000"/>
              <a:gd name="connsiteY84" fmla="*/ 851153 h 6858000"/>
              <a:gd name="connsiteX85" fmla="*/ 661991 w 12192000"/>
              <a:gd name="connsiteY85" fmla="*/ 844072 h 6858000"/>
              <a:gd name="connsiteX86" fmla="*/ 661991 w 12192000"/>
              <a:gd name="connsiteY86" fmla="*/ 843948 h 6858000"/>
              <a:gd name="connsiteX87" fmla="*/ 661991 w 12192000"/>
              <a:gd name="connsiteY87" fmla="*/ 833821 h 6858000"/>
              <a:gd name="connsiteX88" fmla="*/ 661991 w 12192000"/>
              <a:gd name="connsiteY88" fmla="*/ 833721 h 6858000"/>
              <a:gd name="connsiteX89" fmla="*/ 661991 w 12192000"/>
              <a:gd name="connsiteY89" fmla="*/ 826180 h 6858000"/>
              <a:gd name="connsiteX90" fmla="*/ 661991 w 12192000"/>
              <a:gd name="connsiteY90" fmla="*/ 823880 h 6858000"/>
              <a:gd name="connsiteX91" fmla="*/ 661991 w 12192000"/>
              <a:gd name="connsiteY91" fmla="*/ 810609 h 6858000"/>
              <a:gd name="connsiteX92" fmla="*/ 661991 w 12192000"/>
              <a:gd name="connsiteY92" fmla="*/ 805988 h 6858000"/>
              <a:gd name="connsiteX93" fmla="*/ 661991 w 12192000"/>
              <a:gd name="connsiteY93" fmla="*/ 798906 h 6858000"/>
              <a:gd name="connsiteX94" fmla="*/ 661991 w 12192000"/>
              <a:gd name="connsiteY94" fmla="*/ 792840 h 6858000"/>
              <a:gd name="connsiteX95" fmla="*/ 661991 w 12192000"/>
              <a:gd name="connsiteY95" fmla="*/ 788656 h 6858000"/>
              <a:gd name="connsiteX96" fmla="*/ 661991 w 12192000"/>
              <a:gd name="connsiteY96" fmla="*/ 788556 h 6858000"/>
              <a:gd name="connsiteX97" fmla="*/ 661991 w 12192000"/>
              <a:gd name="connsiteY97" fmla="*/ 782447 h 6858000"/>
              <a:gd name="connsiteX98" fmla="*/ 661991 w 12192000"/>
              <a:gd name="connsiteY98" fmla="*/ 778715 h 6858000"/>
              <a:gd name="connsiteX99" fmla="*/ 661991 w 12192000"/>
              <a:gd name="connsiteY99" fmla="*/ 772649 h 6858000"/>
              <a:gd name="connsiteX100" fmla="*/ 661991 w 12192000"/>
              <a:gd name="connsiteY100" fmla="*/ 765444 h 6858000"/>
              <a:gd name="connsiteX101" fmla="*/ 661991 w 12192000"/>
              <a:gd name="connsiteY101" fmla="*/ 762255 h 6858000"/>
              <a:gd name="connsiteX102" fmla="*/ 661991 w 12192000"/>
              <a:gd name="connsiteY102" fmla="*/ 755173 h 6858000"/>
              <a:gd name="connsiteX103" fmla="*/ 661991 w 12192000"/>
              <a:gd name="connsiteY103" fmla="*/ 749107 h 6858000"/>
              <a:gd name="connsiteX104" fmla="*/ 661991 w 12192000"/>
              <a:gd name="connsiteY104" fmla="*/ 744923 h 6858000"/>
              <a:gd name="connsiteX105" fmla="*/ 661991 w 12192000"/>
              <a:gd name="connsiteY105" fmla="*/ 744823 h 6858000"/>
              <a:gd name="connsiteX106" fmla="*/ 661991 w 12192000"/>
              <a:gd name="connsiteY106" fmla="*/ 734982 h 6858000"/>
              <a:gd name="connsiteX107" fmla="*/ 661991 w 12192000"/>
              <a:gd name="connsiteY107" fmla="*/ 728916 h 6858000"/>
              <a:gd name="connsiteX108" fmla="*/ 661991 w 12192000"/>
              <a:gd name="connsiteY108" fmla="*/ 721711 h 6858000"/>
              <a:gd name="connsiteX109" fmla="*/ 661991 w 12192000"/>
              <a:gd name="connsiteY109" fmla="*/ 703942 h 6858000"/>
              <a:gd name="connsiteX110" fmla="*/ 661991 w 12192000"/>
              <a:gd name="connsiteY110" fmla="*/ 689608 h 6858000"/>
              <a:gd name="connsiteX111" fmla="*/ 661991 w 12192000"/>
              <a:gd name="connsiteY111" fmla="*/ 683750 h 6858000"/>
              <a:gd name="connsiteX112" fmla="*/ 661991 w 12192000"/>
              <a:gd name="connsiteY112" fmla="*/ 681681 h 6858000"/>
              <a:gd name="connsiteX113" fmla="*/ 661991 w 12192000"/>
              <a:gd name="connsiteY113" fmla="*/ 660209 h 6858000"/>
              <a:gd name="connsiteX114" fmla="*/ 661991 w 12192000"/>
              <a:gd name="connsiteY114" fmla="*/ 645875 h 6858000"/>
              <a:gd name="connsiteX115" fmla="*/ 661991 w 12192000"/>
              <a:gd name="connsiteY115" fmla="*/ 640017 h 6858000"/>
              <a:gd name="connsiteX116" fmla="*/ 661991 w 12192000"/>
              <a:gd name="connsiteY116" fmla="*/ 637948 h 6858000"/>
              <a:gd name="connsiteX117" fmla="*/ 661991 w 12192000"/>
              <a:gd name="connsiteY117" fmla="*/ 604895 h 6858000"/>
              <a:gd name="connsiteX118" fmla="*/ 661991 w 12192000"/>
              <a:gd name="connsiteY118" fmla="*/ 600710 h 6858000"/>
              <a:gd name="connsiteX119" fmla="*/ 661991 w 12192000"/>
              <a:gd name="connsiteY119" fmla="*/ 592783 h 6858000"/>
              <a:gd name="connsiteX120" fmla="*/ 661991 w 12192000"/>
              <a:gd name="connsiteY120" fmla="*/ 584703 h 6858000"/>
              <a:gd name="connsiteX121" fmla="*/ 661991 w 12192000"/>
              <a:gd name="connsiteY121" fmla="*/ 567371 h 6858000"/>
              <a:gd name="connsiteX122" fmla="*/ 661991 w 12192000"/>
              <a:gd name="connsiteY122" fmla="*/ 561162 h 6858000"/>
              <a:gd name="connsiteX123" fmla="*/ 661991 w 12192000"/>
              <a:gd name="connsiteY123" fmla="*/ 559443 h 6858000"/>
              <a:gd name="connsiteX124" fmla="*/ 661991 w 12192000"/>
              <a:gd name="connsiteY124" fmla="*/ 556977 h 6858000"/>
              <a:gd name="connsiteX125" fmla="*/ 661991 w 12192000"/>
              <a:gd name="connsiteY125" fmla="*/ 549050 h 6858000"/>
              <a:gd name="connsiteX126" fmla="*/ 661991 w 12192000"/>
              <a:gd name="connsiteY126" fmla="*/ 540970 h 6858000"/>
              <a:gd name="connsiteX127" fmla="*/ 661991 w 12192000"/>
              <a:gd name="connsiteY127" fmla="*/ 523638 h 6858000"/>
              <a:gd name="connsiteX128" fmla="*/ 661991 w 12192000"/>
              <a:gd name="connsiteY128" fmla="*/ 515996 h 6858000"/>
              <a:gd name="connsiteX129" fmla="*/ 661991 w 12192000"/>
              <a:gd name="connsiteY129" fmla="*/ 515710 h 6858000"/>
              <a:gd name="connsiteX130" fmla="*/ 661991 w 12192000"/>
              <a:gd name="connsiteY130" fmla="*/ 495805 h 6858000"/>
              <a:gd name="connsiteX131" fmla="*/ 661991 w 12192000"/>
              <a:gd name="connsiteY131" fmla="*/ 482657 h 6858000"/>
              <a:gd name="connsiteX132" fmla="*/ 661991 w 12192000"/>
              <a:gd name="connsiteY132" fmla="*/ 478472 h 6858000"/>
              <a:gd name="connsiteX133" fmla="*/ 661991 w 12192000"/>
              <a:gd name="connsiteY133" fmla="*/ 472263 h 6858000"/>
              <a:gd name="connsiteX134" fmla="*/ 661991 w 12192000"/>
              <a:gd name="connsiteY134" fmla="*/ 470545 h 6858000"/>
              <a:gd name="connsiteX135" fmla="*/ 661991 w 12192000"/>
              <a:gd name="connsiteY135" fmla="*/ 462465 h 6858000"/>
              <a:gd name="connsiteX136" fmla="*/ 661991 w 12192000"/>
              <a:gd name="connsiteY136" fmla="*/ 452072 h 6858000"/>
              <a:gd name="connsiteX137" fmla="*/ 661991 w 12192000"/>
              <a:gd name="connsiteY137" fmla="*/ 438924 h 6858000"/>
              <a:gd name="connsiteX138" fmla="*/ 661991 w 12192000"/>
              <a:gd name="connsiteY138" fmla="*/ 434739 h 6858000"/>
              <a:gd name="connsiteX139" fmla="*/ 661991 w 12192000"/>
              <a:gd name="connsiteY139" fmla="*/ 426812 h 6858000"/>
              <a:gd name="connsiteX140" fmla="*/ 661991 w 12192000"/>
              <a:gd name="connsiteY140" fmla="*/ 418732 h 6858000"/>
              <a:gd name="connsiteX141" fmla="*/ 661991 w 12192000"/>
              <a:gd name="connsiteY141" fmla="*/ 393759 h 6858000"/>
              <a:gd name="connsiteX142" fmla="*/ 661991 w 12192000"/>
              <a:gd name="connsiteY142" fmla="*/ 373567 h 6858000"/>
              <a:gd name="connsiteX143" fmla="*/ 661991 w 12192000"/>
              <a:gd name="connsiteY143" fmla="*/ 350026 h 6858000"/>
              <a:gd name="connsiteX144" fmla="*/ 0 w 12192000"/>
              <a:gd name="connsiteY144" fmla="*/ 0 h 6858000"/>
              <a:gd name="connsiteX145" fmla="*/ 12192000 w 12192000"/>
              <a:gd name="connsiteY145" fmla="*/ 0 h 6858000"/>
              <a:gd name="connsiteX146" fmla="*/ 12192000 w 12192000"/>
              <a:gd name="connsiteY146" fmla="*/ 6858000 h 6858000"/>
              <a:gd name="connsiteX147" fmla="*/ 0 w 12192000"/>
              <a:gd name="connsiteY14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12192000" h="6858000">
                <a:moveTo>
                  <a:pt x="661991" y="339114"/>
                </a:moveTo>
                <a:lnTo>
                  <a:pt x="1" y="410557"/>
                </a:lnTo>
                <a:lnTo>
                  <a:pt x="1" y="421468"/>
                </a:lnTo>
                <a:lnTo>
                  <a:pt x="1" y="426812"/>
                </a:lnTo>
                <a:lnTo>
                  <a:pt x="1" y="445011"/>
                </a:lnTo>
                <a:lnTo>
                  <a:pt x="1" y="465201"/>
                </a:lnTo>
                <a:lnTo>
                  <a:pt x="1" y="470545"/>
                </a:lnTo>
                <a:lnTo>
                  <a:pt x="1" y="490176"/>
                </a:lnTo>
                <a:lnTo>
                  <a:pt x="1" y="510367"/>
                </a:lnTo>
                <a:lnTo>
                  <a:pt x="1" y="515710"/>
                </a:lnTo>
                <a:lnTo>
                  <a:pt x="1" y="523515"/>
                </a:lnTo>
                <a:lnTo>
                  <a:pt x="1" y="533909"/>
                </a:lnTo>
                <a:lnTo>
                  <a:pt x="1" y="543706"/>
                </a:lnTo>
                <a:lnTo>
                  <a:pt x="1" y="549050"/>
                </a:lnTo>
                <a:lnTo>
                  <a:pt x="1" y="554100"/>
                </a:lnTo>
                <a:lnTo>
                  <a:pt x="1" y="559443"/>
                </a:lnTo>
                <a:lnTo>
                  <a:pt x="1" y="567248"/>
                </a:lnTo>
                <a:lnTo>
                  <a:pt x="1" y="587439"/>
                </a:lnTo>
                <a:lnTo>
                  <a:pt x="1" y="592783"/>
                </a:lnTo>
                <a:lnTo>
                  <a:pt x="1" y="612414"/>
                </a:lnTo>
                <a:lnTo>
                  <a:pt x="1" y="632604"/>
                </a:lnTo>
                <a:lnTo>
                  <a:pt x="1" y="637948"/>
                </a:lnTo>
                <a:lnTo>
                  <a:pt x="1" y="656147"/>
                </a:lnTo>
                <a:lnTo>
                  <a:pt x="1" y="676337"/>
                </a:lnTo>
                <a:lnTo>
                  <a:pt x="1" y="681681"/>
                </a:lnTo>
                <a:lnTo>
                  <a:pt x="1" y="744823"/>
                </a:lnTo>
                <a:lnTo>
                  <a:pt x="1" y="744923"/>
                </a:lnTo>
                <a:lnTo>
                  <a:pt x="1" y="788556"/>
                </a:lnTo>
                <a:lnTo>
                  <a:pt x="1" y="788656"/>
                </a:lnTo>
                <a:lnTo>
                  <a:pt x="1" y="806425"/>
                </a:lnTo>
                <a:lnTo>
                  <a:pt x="1" y="826616"/>
                </a:lnTo>
                <a:lnTo>
                  <a:pt x="1" y="833721"/>
                </a:lnTo>
                <a:lnTo>
                  <a:pt x="1" y="833821"/>
                </a:lnTo>
                <a:lnTo>
                  <a:pt x="1" y="850158"/>
                </a:lnTo>
                <a:lnTo>
                  <a:pt x="1" y="867061"/>
                </a:lnTo>
                <a:lnTo>
                  <a:pt x="1" y="867160"/>
                </a:lnTo>
                <a:lnTo>
                  <a:pt x="1" y="870349"/>
                </a:lnTo>
                <a:lnTo>
                  <a:pt x="1" y="877454"/>
                </a:lnTo>
                <a:lnTo>
                  <a:pt x="1" y="877554"/>
                </a:lnTo>
                <a:lnTo>
                  <a:pt x="1" y="895324"/>
                </a:lnTo>
                <a:lnTo>
                  <a:pt x="1" y="910794"/>
                </a:lnTo>
                <a:lnTo>
                  <a:pt x="1" y="910893"/>
                </a:lnTo>
                <a:lnTo>
                  <a:pt x="1" y="915514"/>
                </a:lnTo>
                <a:lnTo>
                  <a:pt x="1" y="928663"/>
                </a:lnTo>
                <a:lnTo>
                  <a:pt x="1" y="939057"/>
                </a:lnTo>
                <a:lnTo>
                  <a:pt x="1" y="948854"/>
                </a:lnTo>
                <a:lnTo>
                  <a:pt x="1" y="955959"/>
                </a:lnTo>
                <a:lnTo>
                  <a:pt x="1" y="956059"/>
                </a:lnTo>
                <a:lnTo>
                  <a:pt x="1" y="959247"/>
                </a:lnTo>
                <a:lnTo>
                  <a:pt x="1" y="972396"/>
                </a:lnTo>
                <a:lnTo>
                  <a:pt x="1" y="992587"/>
                </a:lnTo>
                <a:lnTo>
                  <a:pt x="1" y="999692"/>
                </a:lnTo>
                <a:lnTo>
                  <a:pt x="1" y="999792"/>
                </a:lnTo>
                <a:lnTo>
                  <a:pt x="1" y="1017561"/>
                </a:lnTo>
                <a:lnTo>
                  <a:pt x="1" y="1037752"/>
                </a:lnTo>
                <a:lnTo>
                  <a:pt x="1" y="1061294"/>
                </a:lnTo>
                <a:lnTo>
                  <a:pt x="1" y="1081485"/>
                </a:lnTo>
                <a:lnTo>
                  <a:pt x="661991" y="1010042"/>
                </a:lnTo>
                <a:lnTo>
                  <a:pt x="661991" y="999792"/>
                </a:lnTo>
                <a:lnTo>
                  <a:pt x="661991" y="999692"/>
                </a:lnTo>
                <a:lnTo>
                  <a:pt x="661991" y="989851"/>
                </a:lnTo>
                <a:lnTo>
                  <a:pt x="661991" y="976580"/>
                </a:lnTo>
                <a:lnTo>
                  <a:pt x="661991" y="966309"/>
                </a:lnTo>
                <a:lnTo>
                  <a:pt x="661991" y="956059"/>
                </a:lnTo>
                <a:lnTo>
                  <a:pt x="661991" y="955959"/>
                </a:lnTo>
                <a:lnTo>
                  <a:pt x="661991" y="946118"/>
                </a:lnTo>
                <a:lnTo>
                  <a:pt x="661991" y="932847"/>
                </a:lnTo>
                <a:lnTo>
                  <a:pt x="661991" y="921144"/>
                </a:lnTo>
                <a:lnTo>
                  <a:pt x="661991" y="915078"/>
                </a:lnTo>
                <a:lnTo>
                  <a:pt x="661991" y="910893"/>
                </a:lnTo>
                <a:lnTo>
                  <a:pt x="661991" y="910794"/>
                </a:lnTo>
                <a:lnTo>
                  <a:pt x="661991" y="900953"/>
                </a:lnTo>
                <a:lnTo>
                  <a:pt x="661991" y="894886"/>
                </a:lnTo>
                <a:lnTo>
                  <a:pt x="661991" y="887805"/>
                </a:lnTo>
                <a:lnTo>
                  <a:pt x="661991" y="887681"/>
                </a:lnTo>
                <a:lnTo>
                  <a:pt x="661991" y="877554"/>
                </a:lnTo>
                <a:lnTo>
                  <a:pt x="661991" y="877454"/>
                </a:lnTo>
                <a:lnTo>
                  <a:pt x="661991" y="877411"/>
                </a:lnTo>
                <a:lnTo>
                  <a:pt x="661991" y="871345"/>
                </a:lnTo>
                <a:lnTo>
                  <a:pt x="661991" y="867613"/>
                </a:lnTo>
                <a:lnTo>
                  <a:pt x="661991" y="867160"/>
                </a:lnTo>
                <a:lnTo>
                  <a:pt x="661991" y="867061"/>
                </a:lnTo>
                <a:lnTo>
                  <a:pt x="661991" y="857220"/>
                </a:lnTo>
                <a:lnTo>
                  <a:pt x="661991" y="854342"/>
                </a:lnTo>
                <a:lnTo>
                  <a:pt x="661991" y="851153"/>
                </a:lnTo>
                <a:lnTo>
                  <a:pt x="661991" y="844072"/>
                </a:lnTo>
                <a:lnTo>
                  <a:pt x="661991" y="843948"/>
                </a:lnTo>
                <a:lnTo>
                  <a:pt x="661991" y="833821"/>
                </a:lnTo>
                <a:lnTo>
                  <a:pt x="661991" y="833721"/>
                </a:lnTo>
                <a:lnTo>
                  <a:pt x="661991" y="826180"/>
                </a:lnTo>
                <a:lnTo>
                  <a:pt x="661991" y="823880"/>
                </a:lnTo>
                <a:lnTo>
                  <a:pt x="661991" y="810609"/>
                </a:lnTo>
                <a:lnTo>
                  <a:pt x="661991" y="805988"/>
                </a:lnTo>
                <a:lnTo>
                  <a:pt x="661991" y="798906"/>
                </a:lnTo>
                <a:lnTo>
                  <a:pt x="661991" y="792840"/>
                </a:lnTo>
                <a:lnTo>
                  <a:pt x="661991" y="788656"/>
                </a:lnTo>
                <a:lnTo>
                  <a:pt x="661991" y="788556"/>
                </a:lnTo>
                <a:lnTo>
                  <a:pt x="661991" y="782447"/>
                </a:lnTo>
                <a:lnTo>
                  <a:pt x="661991" y="778715"/>
                </a:lnTo>
                <a:lnTo>
                  <a:pt x="661991" y="772649"/>
                </a:lnTo>
                <a:lnTo>
                  <a:pt x="661991" y="765444"/>
                </a:lnTo>
                <a:lnTo>
                  <a:pt x="661991" y="762255"/>
                </a:lnTo>
                <a:lnTo>
                  <a:pt x="661991" y="755173"/>
                </a:lnTo>
                <a:lnTo>
                  <a:pt x="661991" y="749107"/>
                </a:lnTo>
                <a:lnTo>
                  <a:pt x="661991" y="744923"/>
                </a:lnTo>
                <a:lnTo>
                  <a:pt x="661991" y="744823"/>
                </a:lnTo>
                <a:lnTo>
                  <a:pt x="661991" y="734982"/>
                </a:lnTo>
                <a:lnTo>
                  <a:pt x="661991" y="728916"/>
                </a:lnTo>
                <a:lnTo>
                  <a:pt x="661991" y="721711"/>
                </a:lnTo>
                <a:lnTo>
                  <a:pt x="661991" y="703942"/>
                </a:lnTo>
                <a:lnTo>
                  <a:pt x="661991" y="689608"/>
                </a:lnTo>
                <a:lnTo>
                  <a:pt x="661991" y="683750"/>
                </a:lnTo>
                <a:lnTo>
                  <a:pt x="661991" y="681681"/>
                </a:lnTo>
                <a:lnTo>
                  <a:pt x="661991" y="660209"/>
                </a:lnTo>
                <a:lnTo>
                  <a:pt x="661991" y="645875"/>
                </a:lnTo>
                <a:lnTo>
                  <a:pt x="661991" y="640017"/>
                </a:lnTo>
                <a:lnTo>
                  <a:pt x="661991" y="637948"/>
                </a:lnTo>
                <a:lnTo>
                  <a:pt x="661991" y="604895"/>
                </a:lnTo>
                <a:lnTo>
                  <a:pt x="661991" y="600710"/>
                </a:lnTo>
                <a:lnTo>
                  <a:pt x="661991" y="592783"/>
                </a:lnTo>
                <a:lnTo>
                  <a:pt x="661991" y="584703"/>
                </a:lnTo>
                <a:lnTo>
                  <a:pt x="661991" y="567371"/>
                </a:lnTo>
                <a:lnTo>
                  <a:pt x="661991" y="561162"/>
                </a:lnTo>
                <a:lnTo>
                  <a:pt x="661991" y="559443"/>
                </a:lnTo>
                <a:lnTo>
                  <a:pt x="661991" y="556977"/>
                </a:lnTo>
                <a:lnTo>
                  <a:pt x="661991" y="549050"/>
                </a:lnTo>
                <a:lnTo>
                  <a:pt x="661991" y="540970"/>
                </a:lnTo>
                <a:lnTo>
                  <a:pt x="661991" y="523638"/>
                </a:lnTo>
                <a:lnTo>
                  <a:pt x="661991" y="515996"/>
                </a:lnTo>
                <a:lnTo>
                  <a:pt x="661991" y="515710"/>
                </a:lnTo>
                <a:lnTo>
                  <a:pt x="661991" y="495805"/>
                </a:lnTo>
                <a:lnTo>
                  <a:pt x="661991" y="482657"/>
                </a:lnTo>
                <a:lnTo>
                  <a:pt x="661991" y="478472"/>
                </a:lnTo>
                <a:lnTo>
                  <a:pt x="661991" y="472263"/>
                </a:lnTo>
                <a:lnTo>
                  <a:pt x="661991" y="470545"/>
                </a:lnTo>
                <a:lnTo>
                  <a:pt x="661991" y="462465"/>
                </a:lnTo>
                <a:lnTo>
                  <a:pt x="661991" y="452072"/>
                </a:lnTo>
                <a:lnTo>
                  <a:pt x="661991" y="438924"/>
                </a:lnTo>
                <a:lnTo>
                  <a:pt x="661991" y="434739"/>
                </a:lnTo>
                <a:lnTo>
                  <a:pt x="661991" y="426812"/>
                </a:lnTo>
                <a:lnTo>
                  <a:pt x="661991" y="418732"/>
                </a:lnTo>
                <a:lnTo>
                  <a:pt x="661991" y="393759"/>
                </a:lnTo>
                <a:lnTo>
                  <a:pt x="661991" y="373567"/>
                </a:lnTo>
                <a:lnTo>
                  <a:pt x="661991" y="35002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 bIns="1584000" anchor="b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E9CC2C3-73C3-41F8-A9F3-4DFF1E4B52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4061" y="3092783"/>
            <a:ext cx="9743879" cy="677108"/>
          </a:xfrm>
        </p:spPr>
        <p:txBody>
          <a:bodyPr anchor="ctr">
            <a:spAutoFit/>
          </a:bodyPr>
          <a:lstStyle>
            <a:lvl1pPr marL="0" indent="0" algn="ctr">
              <a:spcAft>
                <a:spcPts val="0"/>
              </a:spcAft>
              <a:buNone/>
              <a:defRPr sz="4400" b="1" kern="600" spc="40" baseline="0">
                <a:solidFill>
                  <a:schemeClr val="tx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grpSp>
        <p:nvGrpSpPr>
          <p:cNvPr id="5" name="Group 13">
            <a:extLst>
              <a:ext uri="{FF2B5EF4-FFF2-40B4-BE49-F238E27FC236}">
                <a16:creationId xmlns:a16="http://schemas.microsoft.com/office/drawing/2014/main" id="{FD461ADA-45A7-4378-B5B9-54CE9BF89A9C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6" name="Freeform 40">
              <a:extLst>
                <a:ext uri="{FF2B5EF4-FFF2-40B4-BE49-F238E27FC236}">
                  <a16:creationId xmlns:a16="http://schemas.microsoft.com/office/drawing/2014/main" id="{1AA0CEEF-19FF-43A0-8966-6DB91FA5A5B2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bg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7" name="Freeform 41">
              <a:extLst>
                <a:ext uri="{FF2B5EF4-FFF2-40B4-BE49-F238E27FC236}">
                  <a16:creationId xmlns:a16="http://schemas.microsoft.com/office/drawing/2014/main" id="{2D34465F-A7E6-49C4-A2DD-CFD03E807F00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113142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folie // Bilplatzhalter mit Text (2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662DB07-81B8-4BDA-8345-7D0D9D3C5C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34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E2CD7A7C-6BED-4042-88C8-8ACEEFC464C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742301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223370 h 6858000"/>
              <a:gd name="connsiteX3" fmla="*/ 5621103 w 12192000"/>
              <a:gd name="connsiteY3" fmla="*/ 6858000 h 6858000"/>
              <a:gd name="connsiteX4" fmla="*/ 0 w 12192000"/>
              <a:gd name="connsiteY4" fmla="*/ 6858000 h 6858000"/>
              <a:gd name="connsiteX5" fmla="*/ 0 w 12192000"/>
              <a:gd name="connsiteY5" fmla="*/ 1081483 h 6858000"/>
              <a:gd name="connsiteX6" fmla="*/ 1 w 12192000"/>
              <a:gd name="connsiteY6" fmla="*/ 1081483 h 6858000"/>
              <a:gd name="connsiteX7" fmla="*/ 1 w 12192000"/>
              <a:gd name="connsiteY7" fmla="*/ 1081485 h 6858000"/>
              <a:gd name="connsiteX8" fmla="*/ 354 w 12192000"/>
              <a:gd name="connsiteY8" fmla="*/ 108144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10742301" y="0"/>
                </a:moveTo>
                <a:lnTo>
                  <a:pt x="12192000" y="0"/>
                </a:lnTo>
                <a:lnTo>
                  <a:pt x="12192000" y="6223370"/>
                </a:lnTo>
                <a:lnTo>
                  <a:pt x="5621103" y="6858000"/>
                </a:lnTo>
                <a:lnTo>
                  <a:pt x="0" y="6858000"/>
                </a:lnTo>
                <a:lnTo>
                  <a:pt x="0" y="1081483"/>
                </a:lnTo>
                <a:lnTo>
                  <a:pt x="1" y="1081483"/>
                </a:lnTo>
                <a:lnTo>
                  <a:pt x="1" y="1081485"/>
                </a:lnTo>
                <a:lnTo>
                  <a:pt x="354" y="1081447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 bIns="1584000" anchor="b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E9CC2C3-73C3-41F8-A9F3-4DFF1E4B52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4061" y="3092783"/>
            <a:ext cx="9743879" cy="677108"/>
          </a:xfrm>
        </p:spPr>
        <p:txBody>
          <a:bodyPr anchor="ctr">
            <a:spAutoFit/>
          </a:bodyPr>
          <a:lstStyle>
            <a:lvl1pPr marL="0" indent="0" algn="ctr">
              <a:spcAft>
                <a:spcPts val="0"/>
              </a:spcAft>
              <a:buNone/>
              <a:defRPr sz="4400" b="1" kern="600" spc="40" baseline="0">
                <a:solidFill>
                  <a:schemeClr val="tx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5" name="Freihandform: Form 27">
            <a:extLst>
              <a:ext uri="{FF2B5EF4-FFF2-40B4-BE49-F238E27FC236}">
                <a16:creationId xmlns:a16="http://schemas.microsoft.com/office/drawing/2014/main" id="{0C357E27-A970-4422-8105-7EAD4D7908AF}"/>
              </a:ext>
            </a:extLst>
          </p:cNvPr>
          <p:cNvSpPr/>
          <p:nvPr userDrawn="1"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000000"/>
              </a:solidFill>
            </a:endParaRPr>
          </a:p>
        </p:txBody>
      </p:sp>
      <p:sp>
        <p:nvSpPr>
          <p:cNvPr id="6" name="Freihandform: Form 7">
            <a:extLst>
              <a:ext uri="{FF2B5EF4-FFF2-40B4-BE49-F238E27FC236}">
                <a16:creationId xmlns:a16="http://schemas.microsoft.com/office/drawing/2014/main" id="{7957DB2B-F4FD-4807-890C-1D5FB9FEA0BE}"/>
              </a:ext>
            </a:extLst>
          </p:cNvPr>
          <p:cNvSpPr/>
          <p:nvPr userDrawn="1"/>
        </p:nvSpPr>
        <p:spPr>
          <a:xfrm>
            <a:off x="5621103" y="6223370"/>
            <a:ext cx="6570897" cy="634630"/>
          </a:xfrm>
          <a:custGeom>
            <a:avLst/>
            <a:gdLst>
              <a:gd name="connsiteX0" fmla="*/ 6570897 w 6570897"/>
              <a:gd name="connsiteY0" fmla="*/ 0 h 634630"/>
              <a:gd name="connsiteX1" fmla="*/ 6570897 w 6570897"/>
              <a:gd name="connsiteY1" fmla="*/ 634630 h 634630"/>
              <a:gd name="connsiteX2" fmla="*/ 0 w 6570897"/>
              <a:gd name="connsiteY2" fmla="*/ 634630 h 634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570897" h="634630">
                <a:moveTo>
                  <a:pt x="6570897" y="0"/>
                </a:moveTo>
                <a:lnTo>
                  <a:pt x="6570897" y="634630"/>
                </a:lnTo>
                <a:lnTo>
                  <a:pt x="0" y="634630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t">
            <a:noAutofit/>
          </a:bodyPr>
          <a:lstStyle/>
          <a:p>
            <a:pPr>
              <a:spcAft>
                <a:spcPts val="1200"/>
              </a:spcAft>
            </a:pPr>
            <a:endParaRPr lang="de-DE" sz="1400" kern="600" dirty="0">
              <a:solidFill>
                <a:srgbClr val="FFFFFF"/>
              </a:solidFill>
            </a:endParaRPr>
          </a:p>
        </p:txBody>
      </p:sp>
      <p:grpSp>
        <p:nvGrpSpPr>
          <p:cNvPr id="7" name="Group 13">
            <a:extLst>
              <a:ext uri="{FF2B5EF4-FFF2-40B4-BE49-F238E27FC236}">
                <a16:creationId xmlns:a16="http://schemas.microsoft.com/office/drawing/2014/main" id="{15861EDB-1869-475F-836A-15C14DA44195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8" name="Freeform 40">
              <a:extLst>
                <a:ext uri="{FF2B5EF4-FFF2-40B4-BE49-F238E27FC236}">
                  <a16:creationId xmlns:a16="http://schemas.microsoft.com/office/drawing/2014/main" id="{A0E011BF-9B88-49E3-8AA6-B972D7E9F06B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bg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9" name="Freeform 41">
              <a:extLst>
                <a:ext uri="{FF2B5EF4-FFF2-40B4-BE49-F238E27FC236}">
                  <a16:creationId xmlns:a16="http://schemas.microsoft.com/office/drawing/2014/main" id="{C6C2628F-067A-4F9F-AB6D-583DE89C8BE1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704874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Nur TItel  – Schrä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8B7D36-4FC7-458A-91CB-590EC03755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13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 userDrawn="1"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Abteilung | Verfasser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9" name="Freeform 18">
            <a:extLst>
              <a:ext uri="{FF2B5EF4-FFF2-40B4-BE49-F238E27FC236}">
                <a16:creationId xmlns:a16="http://schemas.microsoft.com/office/drawing/2014/main" id="{F9BEDD05-536F-F74A-9F35-0ED4CCA99545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570642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Text – Schrä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8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 userDrawn="1"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Abteilung | Verfasser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3" y="1196975"/>
            <a:ext cx="10658475" cy="525621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0" name="Freeform 18">
            <a:extLst>
              <a:ext uri="{FF2B5EF4-FFF2-40B4-BE49-F238E27FC236}">
                <a16:creationId xmlns:a16="http://schemas.microsoft.com/office/drawing/2014/main" id="{05FA0CE4-5D53-C84B-8B20-1E42F54E1EC2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8C5DB09-5C68-4A51-BB61-6A35A5EA54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372041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// Bild fix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4FB6EE2C-707F-C44D-8AA5-9E2D85214630}"/>
              </a:ext>
            </a:extLst>
          </p:cNvPr>
          <p:cNvSpPr/>
          <p:nvPr userDrawn="1"/>
        </p:nvSpPr>
        <p:spPr>
          <a:xfrm>
            <a:off x="-2" y="0"/>
            <a:ext cx="12192001" cy="6193111"/>
          </a:xfrm>
          <a:prstGeom prst="rect">
            <a:avLst/>
          </a:prstGeom>
          <a:solidFill>
            <a:srgbClr val="000000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7D80E89-247E-A848-AC8E-FD04136F57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99308" y="0"/>
            <a:ext cx="7531100" cy="5400942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FD36E87A-29D3-BC47-8370-3C6F038F86FB}"/>
              </a:ext>
            </a:extLst>
          </p:cNvPr>
          <p:cNvGrpSpPr/>
          <p:nvPr userDrawn="1"/>
        </p:nvGrpSpPr>
        <p:grpSpPr>
          <a:xfrm>
            <a:off x="1" y="4109111"/>
            <a:ext cx="12192000" cy="2584735"/>
            <a:chOff x="1" y="4109111"/>
            <a:chExt cx="12192000" cy="2584735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A4D2EE94-2913-F74B-BF74-14EEECDA3E6A}"/>
                </a:ext>
              </a:extLst>
            </p:cNvPr>
            <p:cNvGrpSpPr/>
            <p:nvPr userDrawn="1"/>
          </p:nvGrpSpPr>
          <p:grpSpPr>
            <a:xfrm>
              <a:off x="1" y="4109111"/>
              <a:ext cx="12192000" cy="2156110"/>
              <a:chOff x="-14320" y="4701890"/>
              <a:chExt cx="12206319" cy="2156110"/>
            </a:xfrm>
            <a:solidFill>
              <a:schemeClr val="tx2"/>
            </a:solidFill>
          </p:grpSpPr>
          <p:sp>
            <p:nvSpPr>
              <p:cNvPr id="27" name="Freihandform: Form 36">
                <a:extLst>
                  <a:ext uri="{FF2B5EF4-FFF2-40B4-BE49-F238E27FC236}">
                    <a16:creationId xmlns:a16="http://schemas.microsoft.com/office/drawing/2014/main" id="{77B660CE-0A34-A240-B62F-43519ED186EF}"/>
                  </a:ext>
                </a:extLst>
              </p:cNvPr>
              <p:cNvSpPr/>
              <p:nvPr/>
            </p:nvSpPr>
            <p:spPr>
              <a:xfrm>
                <a:off x="-14320" y="4701890"/>
                <a:ext cx="12206319" cy="1177527"/>
              </a:xfrm>
              <a:custGeom>
                <a:avLst/>
                <a:gdLst>
                  <a:gd name="connsiteX0" fmla="*/ 6984082 w 6984082"/>
                  <a:gd name="connsiteY0" fmla="*/ 0 h 1087864"/>
                  <a:gd name="connsiteX1" fmla="*/ 6984082 w 6984082"/>
                  <a:gd name="connsiteY1" fmla="*/ 537210 h 1087864"/>
                  <a:gd name="connsiteX2" fmla="*/ 6984082 w 6984082"/>
                  <a:gd name="connsiteY2" fmla="*/ 1087864 h 1087864"/>
                  <a:gd name="connsiteX3" fmla="*/ 0 w 6984082"/>
                  <a:gd name="connsiteY3" fmla="*/ 1087864 h 1087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984082" h="1087864">
                    <a:moveTo>
                      <a:pt x="6984082" y="0"/>
                    </a:moveTo>
                    <a:lnTo>
                      <a:pt x="6984082" y="537210"/>
                    </a:lnTo>
                    <a:lnTo>
                      <a:pt x="6984082" y="1087864"/>
                    </a:lnTo>
                    <a:lnTo>
                      <a:pt x="0" y="1087864"/>
                    </a:lnTo>
                    <a:close/>
                  </a:path>
                </a:pathLst>
              </a:custGeom>
              <a:grpFill/>
              <a:ln w="19050" cmpd="sng">
                <a:noFill/>
                <a:prstDash val="dash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ctr" anchorCtr="0">
                <a:noAutofit/>
              </a:bodyPr>
              <a:lstStyle/>
              <a:p>
                <a:pPr algn="ctr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de-DE" sz="1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8" name="Freihandform: Form 36">
                <a:extLst>
                  <a:ext uri="{FF2B5EF4-FFF2-40B4-BE49-F238E27FC236}">
                    <a16:creationId xmlns:a16="http://schemas.microsoft.com/office/drawing/2014/main" id="{A4B9466F-338C-094F-940A-E4F8C0FB212E}"/>
                  </a:ext>
                </a:extLst>
              </p:cNvPr>
              <p:cNvSpPr/>
              <p:nvPr/>
            </p:nvSpPr>
            <p:spPr>
              <a:xfrm>
                <a:off x="-14320" y="5950857"/>
                <a:ext cx="12206319" cy="907143"/>
              </a:xfrm>
              <a:prstGeom prst="rect">
                <a:avLst/>
              </a:prstGeom>
              <a:grpFill/>
              <a:ln w="19050" cmpd="sng">
                <a:noFill/>
                <a:prstDash val="dash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ctr" anchorCtr="0">
                <a:noAutofit/>
              </a:bodyPr>
              <a:lstStyle/>
              <a:p>
                <a:pPr algn="ctr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de-DE" sz="14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6E1FC518-7A43-5B4E-ACD6-904D7BF83146}"/>
                </a:ext>
              </a:extLst>
            </p:cNvPr>
            <p:cNvGrpSpPr/>
            <p:nvPr userDrawn="1"/>
          </p:nvGrpSpPr>
          <p:grpSpPr>
            <a:xfrm>
              <a:off x="1" y="5286638"/>
              <a:ext cx="12192000" cy="1407208"/>
              <a:chOff x="-14320" y="4701890"/>
              <a:chExt cx="12206319" cy="2156110"/>
            </a:xfrm>
            <a:solidFill>
              <a:schemeClr val="tx2"/>
            </a:solidFill>
          </p:grpSpPr>
          <p:sp>
            <p:nvSpPr>
              <p:cNvPr id="25" name="Freihandform: Form 36">
                <a:extLst>
                  <a:ext uri="{FF2B5EF4-FFF2-40B4-BE49-F238E27FC236}">
                    <a16:creationId xmlns:a16="http://schemas.microsoft.com/office/drawing/2014/main" id="{E8B85861-FFF2-9044-AB3C-0431F4DAD23B}"/>
                  </a:ext>
                </a:extLst>
              </p:cNvPr>
              <p:cNvSpPr/>
              <p:nvPr/>
            </p:nvSpPr>
            <p:spPr>
              <a:xfrm>
                <a:off x="-14320" y="4701890"/>
                <a:ext cx="12206319" cy="1177527"/>
              </a:xfrm>
              <a:prstGeom prst="rect">
                <a:avLst/>
              </a:prstGeom>
              <a:grpFill/>
              <a:ln w="19050" cmpd="sng">
                <a:noFill/>
                <a:prstDash val="dash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ctr" anchorCtr="0">
                <a:noAutofit/>
              </a:bodyPr>
              <a:lstStyle/>
              <a:p>
                <a:pPr algn="ctr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de-DE" sz="1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6" name="Freihandform: Form 36">
                <a:extLst>
                  <a:ext uri="{FF2B5EF4-FFF2-40B4-BE49-F238E27FC236}">
                    <a16:creationId xmlns:a16="http://schemas.microsoft.com/office/drawing/2014/main" id="{39254663-6158-6A45-AE29-7268EB9EC89A}"/>
                  </a:ext>
                </a:extLst>
              </p:cNvPr>
              <p:cNvSpPr/>
              <p:nvPr/>
            </p:nvSpPr>
            <p:spPr>
              <a:xfrm>
                <a:off x="-14320" y="5950857"/>
                <a:ext cx="12206319" cy="907143"/>
              </a:xfrm>
              <a:prstGeom prst="rect">
                <a:avLst/>
              </a:prstGeom>
              <a:grpFill/>
              <a:ln w="19050" cmpd="sng">
                <a:noFill/>
                <a:prstDash val="dash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ctr" anchorCtr="0">
                <a:noAutofit/>
              </a:bodyPr>
              <a:lstStyle/>
              <a:p>
                <a:pPr algn="ctr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de-DE" sz="1400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A0779EA-D713-DD4F-80D4-8D599941F06A}"/>
              </a:ext>
            </a:extLst>
          </p:cNvPr>
          <p:cNvGrpSpPr/>
          <p:nvPr userDrawn="1"/>
        </p:nvGrpSpPr>
        <p:grpSpPr>
          <a:xfrm>
            <a:off x="1" y="4180551"/>
            <a:ext cx="12192000" cy="2084670"/>
            <a:chOff x="-14320" y="4773330"/>
            <a:chExt cx="12206319" cy="2084670"/>
          </a:xfrm>
          <a:solidFill>
            <a:schemeClr val="tx2"/>
          </a:solidFill>
        </p:grpSpPr>
        <p:sp>
          <p:nvSpPr>
            <p:cNvPr id="15" name="Freihandform: Form 36">
              <a:extLst>
                <a:ext uri="{FF2B5EF4-FFF2-40B4-BE49-F238E27FC236}">
                  <a16:creationId xmlns:a16="http://schemas.microsoft.com/office/drawing/2014/main" id="{6B81F7C2-50E7-D648-A1CA-DE8AF9652D34}"/>
                </a:ext>
              </a:extLst>
            </p:cNvPr>
            <p:cNvSpPr/>
            <p:nvPr/>
          </p:nvSpPr>
          <p:spPr>
            <a:xfrm>
              <a:off x="-14320" y="4773330"/>
              <a:ext cx="12206319" cy="1177527"/>
            </a:xfrm>
            <a:custGeom>
              <a:avLst/>
              <a:gdLst>
                <a:gd name="connsiteX0" fmla="*/ 6984082 w 6984082"/>
                <a:gd name="connsiteY0" fmla="*/ 0 h 1087864"/>
                <a:gd name="connsiteX1" fmla="*/ 6984082 w 6984082"/>
                <a:gd name="connsiteY1" fmla="*/ 537210 h 1087864"/>
                <a:gd name="connsiteX2" fmla="*/ 6984082 w 6984082"/>
                <a:gd name="connsiteY2" fmla="*/ 1087864 h 1087864"/>
                <a:gd name="connsiteX3" fmla="*/ 0 w 6984082"/>
                <a:gd name="connsiteY3" fmla="*/ 1087864 h 108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4082" h="1087864">
                  <a:moveTo>
                    <a:pt x="6984082" y="0"/>
                  </a:moveTo>
                  <a:lnTo>
                    <a:pt x="6984082" y="537210"/>
                  </a:lnTo>
                  <a:lnTo>
                    <a:pt x="6984082" y="1087864"/>
                  </a:lnTo>
                  <a:lnTo>
                    <a:pt x="0" y="108786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Freihandform: Form 36">
              <a:extLst>
                <a:ext uri="{FF2B5EF4-FFF2-40B4-BE49-F238E27FC236}">
                  <a16:creationId xmlns:a16="http://schemas.microsoft.com/office/drawing/2014/main" id="{15DF55AD-F834-9347-9E93-6BEEA3FBCAB3}"/>
                </a:ext>
              </a:extLst>
            </p:cNvPr>
            <p:cNvSpPr/>
            <p:nvPr/>
          </p:nvSpPr>
          <p:spPr>
            <a:xfrm>
              <a:off x="-14320" y="5950857"/>
              <a:ext cx="12206319" cy="907143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8184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6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4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1587030"/>
            <a:ext cx="7856911" cy="1477328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48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6F3D174-89D1-411B-90BD-5D8D57671A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1" y="3375890"/>
            <a:ext cx="9212849" cy="984885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3200" b="1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3CC68A23-E418-487E-BB61-DBF9AB5D5585}"/>
              </a:ext>
            </a:extLst>
          </p:cNvPr>
          <p:cNvSpPr/>
          <p:nvPr userDrawn="1"/>
        </p:nvSpPr>
        <p:spPr>
          <a:xfrm>
            <a:off x="9413269" y="4782085"/>
            <a:ext cx="2503570" cy="2075914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92C11B">
              <a:alpha val="41961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 lvl="0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14" name="Grafik 7">
            <a:extLst>
              <a:ext uri="{FF2B5EF4-FFF2-40B4-BE49-F238E27FC236}">
                <a16:creationId xmlns:a16="http://schemas.microsoft.com/office/drawing/2014/main" id="{47771F56-AB96-4166-9A11-401910BDF52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7897" y="5679467"/>
            <a:ext cx="4310578" cy="721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3130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2" pos="483" userDrawn="1">
          <p15:clr>
            <a:srgbClr val="A4A3A4"/>
          </p15:clr>
        </p15:guide>
        <p15:guide id="4" orient="horz" pos="754" userDrawn="1">
          <p15:clr>
            <a:srgbClr val="A4A3A4"/>
          </p15:clr>
        </p15:guide>
        <p15:guide id="5" orient="horz" pos="640" userDrawn="1">
          <p15:clr>
            <a:srgbClr val="A4A3A4"/>
          </p15:clr>
        </p15:guide>
        <p15:guide id="6" orient="horz" pos="210" userDrawn="1">
          <p15:clr>
            <a:srgbClr val="A4A3A4"/>
          </p15:clr>
        </p15:guide>
        <p15:guide id="7" pos="7197" userDrawn="1">
          <p15:clr>
            <a:srgbClr val="A4A3A4"/>
          </p15:clr>
        </p15:guide>
        <p15:guide id="8" orient="horz" pos="4065" userDrawn="1">
          <p15:clr>
            <a:srgbClr val="A4A3A4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2 Texten – Schrä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 userDrawn="1"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Abteilung | Verfasser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4" y="1196975"/>
            <a:ext cx="5149850" cy="525621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17B5D8E8-898B-4E41-A0C6-864F12D3D0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196975"/>
            <a:ext cx="5149850" cy="525621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1" name="Freeform 18">
            <a:extLst>
              <a:ext uri="{FF2B5EF4-FFF2-40B4-BE49-F238E27FC236}">
                <a16:creationId xmlns:a16="http://schemas.microsoft.com/office/drawing/2014/main" id="{4209D648-2061-5046-99E8-F0032076507F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46CA8B-55FE-4609-B8B1-366C2FDEAA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238051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Text und Bild (links) – Schrä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3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 userDrawn="1"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Abteilung | Verfasser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17B5D8E8-898B-4E41-A0C6-864F12D3D0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196975"/>
            <a:ext cx="5149850" cy="525621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A6C50B6-EE9C-4EAD-9302-1089F6C9374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66763" y="1196974"/>
            <a:ext cx="5149849" cy="5256213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1" name="Freeform 18">
            <a:extLst>
              <a:ext uri="{FF2B5EF4-FFF2-40B4-BE49-F238E27FC236}">
                <a16:creationId xmlns:a16="http://schemas.microsoft.com/office/drawing/2014/main" id="{634F4E53-68FE-5B4B-AFEA-A9D856AB7EE4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382014B-9E10-4003-A8A5-0A7AE084A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348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Nur TItel 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5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9" name="Freihandform: Form 36">
            <a:extLst>
              <a:ext uri="{FF2B5EF4-FFF2-40B4-BE49-F238E27FC236}">
                <a16:creationId xmlns:a16="http://schemas.microsoft.com/office/drawing/2014/main" id="{A7F06665-152A-4CED-B3D8-729B25AB76E1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0" name="Freihandform: Form 21">
            <a:extLst>
              <a:ext uri="{FF2B5EF4-FFF2-40B4-BE49-F238E27FC236}">
                <a16:creationId xmlns:a16="http://schemas.microsoft.com/office/drawing/2014/main" id="{4BA9D35E-1141-428C-9F79-E0BDCB6AA114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" name="Freeform 18">
            <a:extLst>
              <a:ext uri="{FF2B5EF4-FFF2-40B4-BE49-F238E27FC236}">
                <a16:creationId xmlns:a16="http://schemas.microsoft.com/office/drawing/2014/main" id="{7B349B1B-53F0-B14F-9FF7-28103A8A48C0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AF1B2C0-D18A-47DE-998E-0E5C6DB85A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71137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Text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7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0" name="Freihandform: Form 36">
            <a:extLst>
              <a:ext uri="{FF2B5EF4-FFF2-40B4-BE49-F238E27FC236}">
                <a16:creationId xmlns:a16="http://schemas.microsoft.com/office/drawing/2014/main" id="{12AB1E37-61EF-4B21-87C8-62D9A96380FA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1" name="Freihandform: Form 21">
            <a:extLst>
              <a:ext uri="{FF2B5EF4-FFF2-40B4-BE49-F238E27FC236}">
                <a16:creationId xmlns:a16="http://schemas.microsoft.com/office/drawing/2014/main" id="{AB9A4A69-642E-4B6F-BC03-A66E21D39775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3" y="1196975"/>
            <a:ext cx="10658475" cy="410065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BA3FB8F9-523F-3F49-BA47-CE86CA467970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16F4FFE-663F-4DB8-AC2E-A5EDBB1291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14311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2 Texten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0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1" name="Freihandform: Form 36">
            <a:extLst>
              <a:ext uri="{FF2B5EF4-FFF2-40B4-BE49-F238E27FC236}">
                <a16:creationId xmlns:a16="http://schemas.microsoft.com/office/drawing/2014/main" id="{32602135-06AE-406F-B9AE-A5B574514972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8" name="Freihandform: Form 21">
            <a:extLst>
              <a:ext uri="{FF2B5EF4-FFF2-40B4-BE49-F238E27FC236}">
                <a16:creationId xmlns:a16="http://schemas.microsoft.com/office/drawing/2014/main" id="{91494A3C-5CE0-4053-9C1C-2A08D165B0C0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4" y="1196976"/>
            <a:ext cx="5149850" cy="410064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17B5D8E8-898B-4E41-A0C6-864F12D3D0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196976"/>
            <a:ext cx="5149850" cy="410065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96E79C0D-9CB3-5241-8E38-AA450520B8C8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D5EEE30-6705-44A0-891F-536BF776F2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6940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3339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Text und Bild (links)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2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1" name="Freihandform: Form 36">
            <a:extLst>
              <a:ext uri="{FF2B5EF4-FFF2-40B4-BE49-F238E27FC236}">
                <a16:creationId xmlns:a16="http://schemas.microsoft.com/office/drawing/2014/main" id="{32602135-06AE-406F-B9AE-A5B574514972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8" name="Freihandform: Form 21">
            <a:extLst>
              <a:ext uri="{FF2B5EF4-FFF2-40B4-BE49-F238E27FC236}">
                <a16:creationId xmlns:a16="http://schemas.microsoft.com/office/drawing/2014/main" id="{91494A3C-5CE0-4053-9C1C-2A08D165B0C0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17B5D8E8-898B-4E41-A0C6-864F12D3D0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196976"/>
            <a:ext cx="5149850" cy="410064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1E1B4485-1F72-42D7-ACC3-9EDC24543BB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66763" y="1196974"/>
            <a:ext cx="5149849" cy="4965818"/>
          </a:xfrm>
          <a:custGeom>
            <a:avLst/>
            <a:gdLst>
              <a:gd name="connsiteX0" fmla="*/ 0 w 5149849"/>
              <a:gd name="connsiteY0" fmla="*/ 0 h 4965818"/>
              <a:gd name="connsiteX1" fmla="*/ 5149849 w 5149849"/>
              <a:gd name="connsiteY1" fmla="*/ 0 h 4965818"/>
              <a:gd name="connsiteX2" fmla="*/ 5149849 w 5149849"/>
              <a:gd name="connsiteY2" fmla="*/ 4468436 h 4965818"/>
              <a:gd name="connsiteX3" fmla="*/ 0 w 5149849"/>
              <a:gd name="connsiteY3" fmla="*/ 4965818 h 4965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49849" h="4965818">
                <a:moveTo>
                  <a:pt x="0" y="0"/>
                </a:moveTo>
                <a:lnTo>
                  <a:pt x="5149849" y="0"/>
                </a:lnTo>
                <a:lnTo>
                  <a:pt x="5149849" y="4468436"/>
                </a:lnTo>
                <a:lnTo>
                  <a:pt x="0" y="4965818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C13D84C5-27C9-8244-AE4C-B1FF9BA7BDD8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4D003A0-D044-4DCD-B55E-66422C600D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40449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3566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Text und Bild (rechts)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5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1" name="Freihandform: Form 36">
            <a:extLst>
              <a:ext uri="{FF2B5EF4-FFF2-40B4-BE49-F238E27FC236}">
                <a16:creationId xmlns:a16="http://schemas.microsoft.com/office/drawing/2014/main" id="{32602135-06AE-406F-B9AE-A5B574514972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8" name="Freihandform: Form 21">
            <a:extLst>
              <a:ext uri="{FF2B5EF4-FFF2-40B4-BE49-F238E27FC236}">
                <a16:creationId xmlns:a16="http://schemas.microsoft.com/office/drawing/2014/main" id="{91494A3C-5CE0-4053-9C1C-2A08D165B0C0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A7CB5D3-8679-4C40-98D0-C4A69CB342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4" y="1196976"/>
            <a:ext cx="5149850" cy="446405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1D8CB5B5-C1E3-4EDF-9F8A-AF64BDF3632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75389" y="1196975"/>
            <a:ext cx="5149849" cy="4439485"/>
          </a:xfrm>
          <a:custGeom>
            <a:avLst/>
            <a:gdLst>
              <a:gd name="connsiteX0" fmla="*/ 0 w 5149849"/>
              <a:gd name="connsiteY0" fmla="*/ 0 h 4439485"/>
              <a:gd name="connsiteX1" fmla="*/ 5149849 w 5149849"/>
              <a:gd name="connsiteY1" fmla="*/ 0 h 4439485"/>
              <a:gd name="connsiteX2" fmla="*/ 5149849 w 5149849"/>
              <a:gd name="connsiteY2" fmla="*/ 3942103 h 4439485"/>
              <a:gd name="connsiteX3" fmla="*/ 0 w 5149849"/>
              <a:gd name="connsiteY3" fmla="*/ 4439485 h 4439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49849" h="4439485">
                <a:moveTo>
                  <a:pt x="0" y="0"/>
                </a:moveTo>
                <a:lnTo>
                  <a:pt x="5149849" y="0"/>
                </a:lnTo>
                <a:lnTo>
                  <a:pt x="5149849" y="3942103"/>
                </a:lnTo>
                <a:lnTo>
                  <a:pt x="0" y="443948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F5D9D0D2-7EDA-4947-AB3D-52786C15FACA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BB85738-5B86-46A3-A123-248D01111F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431547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3589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Text und Bild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7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1D09B2C-D8C1-41B9-BF6B-D36D9023B68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3" y="1196976"/>
            <a:ext cx="10658475" cy="35488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1" name="Freeform 18">
            <a:extLst>
              <a:ext uri="{FF2B5EF4-FFF2-40B4-BE49-F238E27FC236}">
                <a16:creationId xmlns:a16="http://schemas.microsoft.com/office/drawing/2014/main" id="{19927C1F-62FD-0A46-8A61-573819706D54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5AF321D-0B4D-4551-BEC7-9EEC195A0E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991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ÜN // Nur TItel – Schrä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 userDrawn="1"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Abteilung | Verfasser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9" name="Freeform 18">
            <a:extLst>
              <a:ext uri="{FF2B5EF4-FFF2-40B4-BE49-F238E27FC236}">
                <a16:creationId xmlns:a16="http://schemas.microsoft.com/office/drawing/2014/main" id="{8BE06C8C-7049-2545-905A-C16E8F707408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DF9595B-11B3-4259-84E9-EA0F02B6A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8338865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ÜN // Titel mit Text – Schrä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2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 userDrawn="1"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Abteilung | Verfasser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3" y="1196975"/>
            <a:ext cx="10658475" cy="5256213"/>
          </a:xfrm>
        </p:spPr>
        <p:txBody>
          <a:bodyPr/>
          <a:lstStyle>
            <a:lvl1pPr>
              <a:defRPr spc="0"/>
            </a:lvl1pPr>
            <a:lvl2pPr>
              <a:defRPr spc="0"/>
            </a:lvl2pPr>
            <a:lvl3pPr>
              <a:defRPr spc="0"/>
            </a:lvl3pPr>
            <a:lvl4pPr>
              <a:defRPr spc="0"/>
            </a:lvl4pPr>
            <a:lvl5pPr>
              <a:defRPr spc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Freeform 18">
            <a:extLst>
              <a:ext uri="{FF2B5EF4-FFF2-40B4-BE49-F238E27FC236}">
                <a16:creationId xmlns:a16="http://schemas.microsoft.com/office/drawing/2014/main" id="{6580AE2E-E7A4-8147-9D10-46D4FED9C736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D37B052-2223-4CD4-B48D-85AE3175C6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038778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// 1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42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0E83E4A-9A3D-4624-A632-4365CC9008C6}"/>
              </a:ext>
            </a:extLst>
          </p:cNvPr>
          <p:cNvGrpSpPr/>
          <p:nvPr userDrawn="1"/>
        </p:nvGrpSpPr>
        <p:grpSpPr>
          <a:xfrm>
            <a:off x="-14320" y="4523949"/>
            <a:ext cx="12206319" cy="2084670"/>
            <a:chOff x="-14320" y="4773330"/>
            <a:chExt cx="12206319" cy="2084670"/>
          </a:xfrm>
          <a:solidFill>
            <a:schemeClr val="bg1"/>
          </a:solidFill>
        </p:grpSpPr>
        <p:sp>
          <p:nvSpPr>
            <p:cNvPr id="12" name="Freihandform: Form 36">
              <a:extLst>
                <a:ext uri="{FF2B5EF4-FFF2-40B4-BE49-F238E27FC236}">
                  <a16:creationId xmlns:a16="http://schemas.microsoft.com/office/drawing/2014/main" id="{0CCDEB08-509C-412A-B334-886FA8CA4A53}"/>
                </a:ext>
              </a:extLst>
            </p:cNvPr>
            <p:cNvSpPr/>
            <p:nvPr/>
          </p:nvSpPr>
          <p:spPr>
            <a:xfrm>
              <a:off x="-14320" y="4773330"/>
              <a:ext cx="12206319" cy="1177527"/>
            </a:xfrm>
            <a:custGeom>
              <a:avLst/>
              <a:gdLst>
                <a:gd name="connsiteX0" fmla="*/ 6984082 w 6984082"/>
                <a:gd name="connsiteY0" fmla="*/ 0 h 1087864"/>
                <a:gd name="connsiteX1" fmla="*/ 6984082 w 6984082"/>
                <a:gd name="connsiteY1" fmla="*/ 537210 h 1087864"/>
                <a:gd name="connsiteX2" fmla="*/ 6984082 w 6984082"/>
                <a:gd name="connsiteY2" fmla="*/ 1087864 h 1087864"/>
                <a:gd name="connsiteX3" fmla="*/ 0 w 6984082"/>
                <a:gd name="connsiteY3" fmla="*/ 1087864 h 108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4082" h="1087864">
                  <a:moveTo>
                    <a:pt x="6984082" y="0"/>
                  </a:moveTo>
                  <a:lnTo>
                    <a:pt x="6984082" y="537210"/>
                  </a:lnTo>
                  <a:lnTo>
                    <a:pt x="6984082" y="1087864"/>
                  </a:lnTo>
                  <a:lnTo>
                    <a:pt x="0" y="108786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Freihandform: Form 36">
              <a:extLst>
                <a:ext uri="{FF2B5EF4-FFF2-40B4-BE49-F238E27FC236}">
                  <a16:creationId xmlns:a16="http://schemas.microsoft.com/office/drawing/2014/main" id="{5F6B9C06-4759-4BDD-8A87-6A0B93D8BF27}"/>
                </a:ext>
              </a:extLst>
            </p:cNvPr>
            <p:cNvSpPr/>
            <p:nvPr/>
          </p:nvSpPr>
          <p:spPr>
            <a:xfrm>
              <a:off x="-14320" y="5950857"/>
              <a:ext cx="12206319" cy="907143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7B158FD-BC8B-4BD7-B30C-33155EC07E27}"/>
              </a:ext>
            </a:extLst>
          </p:cNvPr>
          <p:cNvGrpSpPr/>
          <p:nvPr userDrawn="1"/>
        </p:nvGrpSpPr>
        <p:grpSpPr>
          <a:xfrm>
            <a:off x="-14320" y="4773330"/>
            <a:ext cx="12206319" cy="2084670"/>
            <a:chOff x="-14320" y="4773330"/>
            <a:chExt cx="12206319" cy="2084670"/>
          </a:xfrm>
          <a:solidFill>
            <a:schemeClr val="tx1"/>
          </a:solidFill>
        </p:grpSpPr>
        <p:sp>
          <p:nvSpPr>
            <p:cNvPr id="18" name="Freihandform: Form 36">
              <a:extLst>
                <a:ext uri="{FF2B5EF4-FFF2-40B4-BE49-F238E27FC236}">
                  <a16:creationId xmlns:a16="http://schemas.microsoft.com/office/drawing/2014/main" id="{276FF15F-79EA-48EF-AB19-8EF5B83AA268}"/>
                </a:ext>
              </a:extLst>
            </p:cNvPr>
            <p:cNvSpPr/>
            <p:nvPr/>
          </p:nvSpPr>
          <p:spPr>
            <a:xfrm>
              <a:off x="-14320" y="4773330"/>
              <a:ext cx="12206319" cy="1177527"/>
            </a:xfrm>
            <a:custGeom>
              <a:avLst/>
              <a:gdLst>
                <a:gd name="connsiteX0" fmla="*/ 6984082 w 6984082"/>
                <a:gd name="connsiteY0" fmla="*/ 0 h 1087864"/>
                <a:gd name="connsiteX1" fmla="*/ 6984082 w 6984082"/>
                <a:gd name="connsiteY1" fmla="*/ 537210 h 1087864"/>
                <a:gd name="connsiteX2" fmla="*/ 6984082 w 6984082"/>
                <a:gd name="connsiteY2" fmla="*/ 1087864 h 1087864"/>
                <a:gd name="connsiteX3" fmla="*/ 0 w 6984082"/>
                <a:gd name="connsiteY3" fmla="*/ 1087864 h 108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4082" h="1087864">
                  <a:moveTo>
                    <a:pt x="6984082" y="0"/>
                  </a:moveTo>
                  <a:lnTo>
                    <a:pt x="6984082" y="537210"/>
                  </a:lnTo>
                  <a:lnTo>
                    <a:pt x="6984082" y="1087864"/>
                  </a:lnTo>
                  <a:lnTo>
                    <a:pt x="0" y="108786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9" name="Freihandform: Form 36">
              <a:extLst>
                <a:ext uri="{FF2B5EF4-FFF2-40B4-BE49-F238E27FC236}">
                  <a16:creationId xmlns:a16="http://schemas.microsoft.com/office/drawing/2014/main" id="{EE10ADC2-F397-424B-A593-F7D24FE8F642}"/>
                </a:ext>
              </a:extLst>
            </p:cNvPr>
            <p:cNvSpPr/>
            <p:nvPr/>
          </p:nvSpPr>
          <p:spPr>
            <a:xfrm>
              <a:off x="-14320" y="5950857"/>
              <a:ext cx="12206319" cy="907143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0" name="Freeform 27">
            <a:extLst>
              <a:ext uri="{FF2B5EF4-FFF2-40B4-BE49-F238E27FC236}">
                <a16:creationId xmlns:a16="http://schemas.microsoft.com/office/drawing/2014/main" id="{F99D45B5-30C5-4D8C-AD9A-57761B90366A}"/>
              </a:ext>
            </a:extLst>
          </p:cNvPr>
          <p:cNvSpPr/>
          <p:nvPr userDrawn="1"/>
        </p:nvSpPr>
        <p:spPr>
          <a:xfrm>
            <a:off x="9950300" y="5187321"/>
            <a:ext cx="2014480" cy="1670373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21" name="Grafik 7">
            <a:extLst>
              <a:ext uri="{FF2B5EF4-FFF2-40B4-BE49-F238E27FC236}">
                <a16:creationId xmlns:a16="http://schemas.microsoft.com/office/drawing/2014/main" id="{ABC8BF24-69D2-4ED3-A927-999B8112752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55612" y="5849915"/>
            <a:ext cx="2676530" cy="448275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69500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8B7D36-4FC7-458A-91CB-590EC03755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333692"/>
            <a:ext cx="6950075" cy="680356"/>
          </a:xfrm>
        </p:spPr>
        <p:txBody>
          <a:bodyPr/>
          <a:lstStyle>
            <a:lvl1pPr>
              <a:defRPr sz="2800"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01044316-A55F-4672-890E-8E36CD55FAD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967663" y="333692"/>
            <a:ext cx="4224337" cy="4614736"/>
          </a:xfrm>
          <a:custGeom>
            <a:avLst/>
            <a:gdLst>
              <a:gd name="connsiteX0" fmla="*/ 0 w 4224337"/>
              <a:gd name="connsiteY0" fmla="*/ 0 h 4614736"/>
              <a:gd name="connsiteX1" fmla="*/ 4224337 w 4224337"/>
              <a:gd name="connsiteY1" fmla="*/ 0 h 4614736"/>
              <a:gd name="connsiteX2" fmla="*/ 4224337 w 4224337"/>
              <a:gd name="connsiteY2" fmla="*/ 4206741 h 4614736"/>
              <a:gd name="connsiteX3" fmla="*/ 0 w 4224337"/>
              <a:gd name="connsiteY3" fmla="*/ 4614736 h 4614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4337" h="4614736">
                <a:moveTo>
                  <a:pt x="0" y="0"/>
                </a:moveTo>
                <a:lnTo>
                  <a:pt x="4224337" y="0"/>
                </a:lnTo>
                <a:lnTo>
                  <a:pt x="4224337" y="4206741"/>
                </a:lnTo>
                <a:lnTo>
                  <a:pt x="0" y="461473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466707-4BCC-41E0-BEB4-0622C3F345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3" y="2039265"/>
            <a:ext cx="6842125" cy="2357331"/>
          </a:xfrm>
        </p:spPr>
        <p:txBody>
          <a:bodyPr anchor="ctr">
            <a:normAutofit/>
          </a:bodyPr>
          <a:lstStyle>
            <a:lvl1pPr marL="457200" indent="-457200">
              <a:buFont typeface="+mj-lt"/>
              <a:buAutoNum type="arabicPeriod"/>
              <a:defRPr sz="2400" baseline="0"/>
            </a:lvl1pPr>
            <a:lvl2pPr marL="358775" indent="0">
              <a:buFont typeface="+mj-lt"/>
              <a:buNone/>
              <a:defRPr sz="2400"/>
            </a:lvl2pPr>
            <a:lvl3pPr marL="457200" indent="-457200">
              <a:buFont typeface="+mj-lt"/>
              <a:buAutoNum type="arabicPeriod"/>
              <a:defRPr sz="2400"/>
            </a:lvl3pPr>
            <a:lvl4pPr marL="457200" indent="-457200">
              <a:buFont typeface="+mj-lt"/>
              <a:buAutoNum type="arabicPeriod"/>
              <a:defRPr sz="2400"/>
            </a:lvl4pPr>
            <a:lvl5pPr marL="457200" indent="-457200">
              <a:buFont typeface="+mj-lt"/>
              <a:buAutoNum type="arabicPeriod"/>
              <a:defRPr sz="2400"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81933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 userDrawn="1">
          <p15:clr>
            <a:srgbClr val="F26B43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ÜN // Titel mit 2 Texten – Schrä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4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" name="Freihandform: Form 35">
            <a:extLst>
              <a:ext uri="{FF2B5EF4-FFF2-40B4-BE49-F238E27FC236}">
                <a16:creationId xmlns:a16="http://schemas.microsoft.com/office/drawing/2014/main" id="{2E9DB6A1-D975-4F49-A960-EFE2BAA4AC65}"/>
              </a:ext>
            </a:extLst>
          </p:cNvPr>
          <p:cNvSpPr/>
          <p:nvPr userDrawn="1"/>
        </p:nvSpPr>
        <p:spPr>
          <a:xfrm>
            <a:off x="7798096" y="6434126"/>
            <a:ext cx="4393904" cy="423874"/>
          </a:xfrm>
          <a:custGeom>
            <a:avLst/>
            <a:gdLst>
              <a:gd name="connsiteX0" fmla="*/ 4393904 w 4393904"/>
              <a:gd name="connsiteY0" fmla="*/ 0 h 423874"/>
              <a:gd name="connsiteX1" fmla="*/ 4393904 w 4393904"/>
              <a:gd name="connsiteY1" fmla="*/ 423874 h 423874"/>
              <a:gd name="connsiteX2" fmla="*/ 0 w 4393904"/>
              <a:gd name="connsiteY2" fmla="*/ 423874 h 42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93904" h="423874">
                <a:moveTo>
                  <a:pt x="4393904" y="0"/>
                </a:moveTo>
                <a:lnTo>
                  <a:pt x="4393904" y="423874"/>
                </a:lnTo>
                <a:lnTo>
                  <a:pt x="0" y="42387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Abteilung | Verfasser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4" y="1196975"/>
            <a:ext cx="5149850" cy="525621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17B5D8E8-898B-4E41-A0C6-864F12D3D0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196975"/>
            <a:ext cx="5149850" cy="525621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1" name="Freeform 18">
            <a:extLst>
              <a:ext uri="{FF2B5EF4-FFF2-40B4-BE49-F238E27FC236}">
                <a16:creationId xmlns:a16="http://schemas.microsoft.com/office/drawing/2014/main" id="{95936665-1D34-4541-BAA1-D13E54A42DF7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4BE0294-C1AD-463F-9932-14FF898FDD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322992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ÜN // Nur TItel 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7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9" name="Freihandform: Form 36">
            <a:extLst>
              <a:ext uri="{FF2B5EF4-FFF2-40B4-BE49-F238E27FC236}">
                <a16:creationId xmlns:a16="http://schemas.microsoft.com/office/drawing/2014/main" id="{A7F06665-152A-4CED-B3D8-729B25AB76E1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0" name="Freihandform: Form 21">
            <a:extLst>
              <a:ext uri="{FF2B5EF4-FFF2-40B4-BE49-F238E27FC236}">
                <a16:creationId xmlns:a16="http://schemas.microsoft.com/office/drawing/2014/main" id="{4BA9D35E-1141-428C-9F79-E0BDCB6AA114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" name="Freeform 18">
            <a:extLst>
              <a:ext uri="{FF2B5EF4-FFF2-40B4-BE49-F238E27FC236}">
                <a16:creationId xmlns:a16="http://schemas.microsoft.com/office/drawing/2014/main" id="{FF28E917-7CDB-B047-85A6-D68875D6D2BB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5D3F80B-02F8-465D-BCDE-DF5E4A68D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57899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ÜN // Titel mit Text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9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0" name="Freihandform: Form 36">
            <a:extLst>
              <a:ext uri="{FF2B5EF4-FFF2-40B4-BE49-F238E27FC236}">
                <a16:creationId xmlns:a16="http://schemas.microsoft.com/office/drawing/2014/main" id="{12AB1E37-61EF-4B21-87C8-62D9A96380FA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1" name="Freihandform: Form 21">
            <a:extLst>
              <a:ext uri="{FF2B5EF4-FFF2-40B4-BE49-F238E27FC236}">
                <a16:creationId xmlns:a16="http://schemas.microsoft.com/office/drawing/2014/main" id="{AB9A4A69-642E-4B6F-BC03-A66E21D39775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3" y="1196976"/>
            <a:ext cx="10658475" cy="4100650"/>
          </a:xfrm>
        </p:spPr>
        <p:txBody>
          <a:bodyPr/>
          <a:lstStyle>
            <a:lvl1pPr>
              <a:defRPr spc="0"/>
            </a:lvl1pPr>
            <a:lvl2pPr>
              <a:defRPr spc="0"/>
            </a:lvl2pPr>
            <a:lvl3pPr>
              <a:defRPr spc="0"/>
            </a:lvl3pPr>
            <a:lvl4pPr>
              <a:defRPr spc="0"/>
            </a:lvl4pPr>
            <a:lvl5pPr>
              <a:defRPr spc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A9207D9E-A8D2-D441-8F1A-99EA8AC89D59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A46B979-61EF-4DDE-850D-A9C522E487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7396311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ÜN // Titel mit 2 Texten – Schrä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1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" name="Freihandform: Form 36">
            <a:extLst>
              <a:ext uri="{FF2B5EF4-FFF2-40B4-BE49-F238E27FC236}">
                <a16:creationId xmlns:a16="http://schemas.microsoft.com/office/drawing/2014/main" id="{32602135-06AE-406F-B9AE-A5B574514972}"/>
              </a:ext>
            </a:extLst>
          </p:cNvPr>
          <p:cNvSpPr/>
          <p:nvPr userDrawn="1"/>
        </p:nvSpPr>
        <p:spPr>
          <a:xfrm>
            <a:off x="-1" y="5297625"/>
            <a:ext cx="12192000" cy="1177527"/>
          </a:xfrm>
          <a:custGeom>
            <a:avLst/>
            <a:gdLst>
              <a:gd name="connsiteX0" fmla="*/ 6984082 w 6984082"/>
              <a:gd name="connsiteY0" fmla="*/ 0 h 1087864"/>
              <a:gd name="connsiteX1" fmla="*/ 6984082 w 6984082"/>
              <a:gd name="connsiteY1" fmla="*/ 537210 h 1087864"/>
              <a:gd name="connsiteX2" fmla="*/ 6984082 w 6984082"/>
              <a:gd name="connsiteY2" fmla="*/ 1087864 h 1087864"/>
              <a:gd name="connsiteX3" fmla="*/ 0 w 6984082"/>
              <a:gd name="connsiteY3" fmla="*/ 1087864 h 108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4082" h="1087864">
                <a:moveTo>
                  <a:pt x="6984082" y="0"/>
                </a:moveTo>
                <a:lnTo>
                  <a:pt x="6984082" y="537210"/>
                </a:lnTo>
                <a:lnTo>
                  <a:pt x="6984082" y="1087864"/>
                </a:lnTo>
                <a:lnTo>
                  <a:pt x="0" y="1087864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8" name="Freihandform: Form 21">
            <a:extLst>
              <a:ext uri="{FF2B5EF4-FFF2-40B4-BE49-F238E27FC236}">
                <a16:creationId xmlns:a16="http://schemas.microsoft.com/office/drawing/2014/main" id="{91494A3C-5CE0-4053-9C1C-2A08D165B0C0}"/>
              </a:ext>
            </a:extLst>
          </p:cNvPr>
          <p:cNvSpPr/>
          <p:nvPr userDrawn="1"/>
        </p:nvSpPr>
        <p:spPr>
          <a:xfrm>
            <a:off x="0" y="6475153"/>
            <a:ext cx="12192000" cy="382847"/>
          </a:xfrm>
          <a:custGeom>
            <a:avLst/>
            <a:gdLst>
              <a:gd name="connsiteX0" fmla="*/ 0 w 12206319"/>
              <a:gd name="connsiteY0" fmla="*/ 0 h 382847"/>
              <a:gd name="connsiteX1" fmla="*/ 12206319 w 12206319"/>
              <a:gd name="connsiteY1" fmla="*/ 0 h 382847"/>
              <a:gd name="connsiteX2" fmla="*/ 12206319 w 12206319"/>
              <a:gd name="connsiteY2" fmla="*/ 382847 h 382847"/>
              <a:gd name="connsiteX3" fmla="*/ 0 w 12206319"/>
              <a:gd name="connsiteY3" fmla="*/ 382847 h 38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6319" h="382847">
                <a:moveTo>
                  <a:pt x="0" y="0"/>
                </a:moveTo>
                <a:lnTo>
                  <a:pt x="12206319" y="0"/>
                </a:lnTo>
                <a:lnTo>
                  <a:pt x="12206319" y="382847"/>
                </a:lnTo>
                <a:lnTo>
                  <a:pt x="0" y="382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4" y="1196975"/>
            <a:ext cx="5149850" cy="410033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17B5D8E8-898B-4E41-A0C6-864F12D3D0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196976"/>
            <a:ext cx="5149850" cy="410065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9EBD5B88-9E28-0843-BBBC-03C3B8F7928B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B3124B4-073E-4AA4-A8AF-077A24B5A0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079768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3339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e mit Bildplatzhalter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4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Picture Placeholder 63">
            <a:extLst>
              <a:ext uri="{FF2B5EF4-FFF2-40B4-BE49-F238E27FC236}">
                <a16:creationId xmlns:a16="http://schemas.microsoft.com/office/drawing/2014/main" id="{004056D1-7168-4A16-801D-88B4BF20AE3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1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EC70416A-78D1-4FAA-9263-419E74D1E3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4" y="335582"/>
            <a:ext cx="5185237" cy="5234188"/>
          </a:xfrm>
          <a:custGeom>
            <a:avLst/>
            <a:gdLst>
              <a:gd name="connsiteX0" fmla="*/ 0 w 5185237"/>
              <a:gd name="connsiteY0" fmla="*/ 0 h 5234188"/>
              <a:gd name="connsiteX1" fmla="*/ 5185237 w 5185237"/>
              <a:gd name="connsiteY1" fmla="*/ 0 h 5234188"/>
              <a:gd name="connsiteX2" fmla="*/ 5185237 w 5185237"/>
              <a:gd name="connsiteY2" fmla="*/ 4735298 h 5234188"/>
              <a:gd name="connsiteX3" fmla="*/ 2431692 w 5185237"/>
              <a:gd name="connsiteY3" fmla="*/ 5000227 h 5234188"/>
              <a:gd name="connsiteX4" fmla="*/ 0 w 5185237"/>
              <a:gd name="connsiteY4" fmla="*/ 5234188 h 5234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85237" h="5234188">
                <a:moveTo>
                  <a:pt x="0" y="0"/>
                </a:moveTo>
                <a:lnTo>
                  <a:pt x="5185237" y="0"/>
                </a:lnTo>
                <a:lnTo>
                  <a:pt x="5185237" y="4735298"/>
                </a:lnTo>
                <a:lnTo>
                  <a:pt x="2431692" y="5000227"/>
                </a:lnTo>
                <a:lnTo>
                  <a:pt x="0" y="523418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360000" tIns="504000" rIns="360000" bIns="504000">
            <a:noAutofit/>
          </a:bodyPr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D38BFF1B-73CF-4984-9F29-2D30CCD703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40000" y="335585"/>
            <a:ext cx="5185236" cy="4707587"/>
          </a:xfrm>
          <a:custGeom>
            <a:avLst/>
            <a:gdLst>
              <a:gd name="connsiteX0" fmla="*/ 0 w 5185236"/>
              <a:gd name="connsiteY0" fmla="*/ 0 h 4707587"/>
              <a:gd name="connsiteX1" fmla="*/ 5185236 w 5185236"/>
              <a:gd name="connsiteY1" fmla="*/ 0 h 4707587"/>
              <a:gd name="connsiteX2" fmla="*/ 5185236 w 5185236"/>
              <a:gd name="connsiteY2" fmla="*/ 4208697 h 4707587"/>
              <a:gd name="connsiteX3" fmla="*/ 0 w 5185236"/>
              <a:gd name="connsiteY3" fmla="*/ 4707587 h 4707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85236" h="4707587">
                <a:moveTo>
                  <a:pt x="0" y="0"/>
                </a:moveTo>
                <a:lnTo>
                  <a:pt x="5185236" y="0"/>
                </a:lnTo>
                <a:lnTo>
                  <a:pt x="5185236" y="4208697"/>
                </a:lnTo>
                <a:lnTo>
                  <a:pt x="0" y="470758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504000" rIns="360000" bIns="504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7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9" name="Text Placeholder 57">
            <a:extLst>
              <a:ext uri="{FF2B5EF4-FFF2-40B4-BE49-F238E27FC236}">
                <a16:creationId xmlns:a16="http://schemas.microsoft.com/office/drawing/2014/main" id="{0E6FBE4D-8582-45C3-B225-A176E840E4D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26361" y="3558602"/>
            <a:ext cx="2069066" cy="1715020"/>
          </a:xfrm>
          <a:blipFill>
            <a:blip r:embed="rId8"/>
            <a:stretch>
              <a:fillRect l="117"/>
            </a:stretch>
          </a:blipFill>
        </p:spPr>
        <p:txBody>
          <a:bodyPr anchor="ctr"/>
          <a:lstStyle>
            <a:lvl1pPr marL="0" indent="0" algn="ctr">
              <a:buNone/>
              <a:defRPr>
                <a:blipFill>
                  <a:blip r:embed="rId8"/>
                  <a:stretch>
                    <a:fillRect l="117"/>
                  </a:stretch>
                </a:blipFill>
                <a:effectLst>
                  <a:outerShdw blurRad="50800" dist="50800" dir="5400000" algn="ctr" rotWithShape="0">
                    <a:srgbClr val="000000"/>
                  </a:outerShdw>
                </a:effectLst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E292EBB7-7039-4D87-BCDC-FB6BB4FB0E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28201" y="4484284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6251894B-5D3F-C541-B52A-E62499E80655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46197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26B43"/>
          </p15:clr>
        </p15:guide>
        <p15:guide id="2" pos="3931">
          <p15:clr>
            <a:srgbClr val="F26B43"/>
          </p15:clr>
        </p15:guide>
        <p15:guide id="3" orient="horz" pos="754">
          <p15:clr>
            <a:srgbClr val="A4A3A4"/>
          </p15:clr>
        </p15:guide>
        <p15:guide id="4" orient="horz" pos="640">
          <p15:clr>
            <a:srgbClr val="A4A3A4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e mit Bildplatzhalter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6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1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64" name="Picture Placeholder 63">
            <a:extLst>
              <a:ext uri="{FF2B5EF4-FFF2-40B4-BE49-F238E27FC236}">
                <a16:creationId xmlns:a16="http://schemas.microsoft.com/office/drawing/2014/main" id="{60ED6361-F72E-4082-BD9A-CC3E00274DD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70195F57-E2B4-4C17-921E-D0505DD50D4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4" y="335583"/>
            <a:ext cx="3349484" cy="5230829"/>
          </a:xfrm>
          <a:custGeom>
            <a:avLst/>
            <a:gdLst>
              <a:gd name="connsiteX0" fmla="*/ 0 w 3349484"/>
              <a:gd name="connsiteY0" fmla="*/ 0 h 5230829"/>
              <a:gd name="connsiteX1" fmla="*/ 3349484 w 3349484"/>
              <a:gd name="connsiteY1" fmla="*/ 0 h 5230829"/>
              <a:gd name="connsiteX2" fmla="*/ 3349484 w 3349484"/>
              <a:gd name="connsiteY2" fmla="*/ 4907329 h 5230829"/>
              <a:gd name="connsiteX3" fmla="*/ 0 w 3349484"/>
              <a:gd name="connsiteY3" fmla="*/ 5230829 h 5230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9484" h="5230829">
                <a:moveTo>
                  <a:pt x="0" y="0"/>
                </a:moveTo>
                <a:lnTo>
                  <a:pt x="3349484" y="0"/>
                </a:lnTo>
                <a:lnTo>
                  <a:pt x="3349484" y="4907329"/>
                </a:lnTo>
                <a:lnTo>
                  <a:pt x="0" y="5230829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360000" tIns="360000" rIns="360000" bIns="360000">
            <a:noAutofit/>
          </a:bodyPr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42F5AE94-26CB-4B52-9D32-BB3573223A2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03725" y="335583"/>
            <a:ext cx="3384549" cy="4879564"/>
          </a:xfrm>
          <a:custGeom>
            <a:avLst/>
            <a:gdLst>
              <a:gd name="connsiteX0" fmla="*/ 0 w 3384549"/>
              <a:gd name="connsiteY0" fmla="*/ 0 h 4879564"/>
              <a:gd name="connsiteX1" fmla="*/ 3384549 w 3384549"/>
              <a:gd name="connsiteY1" fmla="*/ 0 h 4879564"/>
              <a:gd name="connsiteX2" fmla="*/ 3384549 w 3384549"/>
              <a:gd name="connsiteY2" fmla="*/ 4552678 h 4879564"/>
              <a:gd name="connsiteX3" fmla="*/ 0 w 3384549"/>
              <a:gd name="connsiteY3" fmla="*/ 4879564 h 4879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84549" h="4879564">
                <a:moveTo>
                  <a:pt x="0" y="0"/>
                </a:moveTo>
                <a:lnTo>
                  <a:pt x="3384549" y="0"/>
                </a:lnTo>
                <a:lnTo>
                  <a:pt x="3384549" y="4552678"/>
                </a:lnTo>
                <a:lnTo>
                  <a:pt x="0" y="487956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36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7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6" name="Text Placeholder 55">
            <a:extLst>
              <a:ext uri="{FF2B5EF4-FFF2-40B4-BE49-F238E27FC236}">
                <a16:creationId xmlns:a16="http://schemas.microsoft.com/office/drawing/2014/main" id="{B081B6C1-45B0-4E79-BBD7-9988F5587DD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75751" y="335583"/>
            <a:ext cx="3349487" cy="4524912"/>
          </a:xfrm>
          <a:custGeom>
            <a:avLst/>
            <a:gdLst>
              <a:gd name="connsiteX0" fmla="*/ 0 w 3349487"/>
              <a:gd name="connsiteY0" fmla="*/ 0 h 4524912"/>
              <a:gd name="connsiteX1" fmla="*/ 3349487 w 3349487"/>
              <a:gd name="connsiteY1" fmla="*/ 0 h 4524912"/>
              <a:gd name="connsiteX2" fmla="*/ 3349487 w 3349487"/>
              <a:gd name="connsiteY2" fmla="*/ 4201413 h 4524912"/>
              <a:gd name="connsiteX3" fmla="*/ 0 w 3349487"/>
              <a:gd name="connsiteY3" fmla="*/ 4524912 h 452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9487" h="4524912">
                <a:moveTo>
                  <a:pt x="0" y="0"/>
                </a:moveTo>
                <a:lnTo>
                  <a:pt x="3349487" y="0"/>
                </a:lnTo>
                <a:lnTo>
                  <a:pt x="3349487" y="4201413"/>
                </a:lnTo>
                <a:lnTo>
                  <a:pt x="0" y="4524912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360000" tIns="360000" rIns="360000" bIns="360000">
            <a:noAutofit/>
          </a:bodyPr>
          <a:lstStyle>
            <a:lvl1pPr>
              <a:buClr>
                <a:schemeClr val="tx1"/>
              </a:buClr>
              <a:defRPr spc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pc="0">
                <a:solidFill>
                  <a:schemeClr val="tx1"/>
                </a:solidFill>
              </a:defRPr>
            </a:lvl2pPr>
            <a:lvl3pPr marL="360363" indent="-360363">
              <a:buFontTx/>
              <a:buBlip>
                <a:blip r:embed="rId8"/>
              </a:buBlip>
              <a:defRPr spc="0">
                <a:solidFill>
                  <a:schemeClr val="tx1"/>
                </a:solidFill>
              </a:defRPr>
            </a:lvl3pPr>
            <a:lvl4pPr>
              <a:defRPr spc="0">
                <a:solidFill>
                  <a:schemeClr val="tx1"/>
                </a:solidFill>
              </a:defRPr>
            </a:lvl4pPr>
            <a:lvl5pPr>
              <a:defRPr spc="0">
                <a:solidFill>
                  <a:schemeClr val="tx1"/>
                </a:solidFill>
              </a:defRPr>
            </a:lvl5pPr>
            <a:lvl6pPr>
              <a:defRPr spc="0">
                <a:solidFill>
                  <a:schemeClr val="tx1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9" name="Text Placeholder 57">
            <a:extLst>
              <a:ext uri="{FF2B5EF4-FFF2-40B4-BE49-F238E27FC236}">
                <a16:creationId xmlns:a16="http://schemas.microsoft.com/office/drawing/2014/main" id="{0E6FBE4D-8582-45C3-B225-A176E840E4D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4501" y="3763964"/>
            <a:ext cx="2069066" cy="1715020"/>
          </a:xfrm>
          <a:blipFill>
            <a:blip r:embed="rId9"/>
            <a:stretch>
              <a:fillRect l="117"/>
            </a:stretch>
          </a:blipFill>
        </p:spPr>
        <p:txBody>
          <a:bodyPr anchor="ctr"/>
          <a:lstStyle>
            <a:lvl1pPr marL="0" indent="0" algn="ctr">
              <a:buNone/>
              <a:defRPr>
                <a:blipFill>
                  <a:blip r:embed="rId9"/>
                  <a:stretch>
                    <a:fillRect l="117"/>
                  </a:stretch>
                </a:blipFill>
                <a:effectLst>
                  <a:outerShdw blurRad="50800" dist="50800" dir="5400000" algn="ctr" rotWithShape="0">
                    <a:srgbClr val="000000"/>
                  </a:outerShdw>
                </a:effectLst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E292EBB7-7039-4D87-BCDC-FB6BB4FB0E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93063" y="4715053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6251894B-5D3F-C541-B52A-E62499E80655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5955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06">
          <p15:clr>
            <a:srgbClr val="F26B43"/>
          </p15:clr>
        </p15:guide>
        <p15:guide id="2" pos="2593">
          <p15:clr>
            <a:srgbClr val="F26B43"/>
          </p15:clr>
        </p15:guide>
        <p15:guide id="3" pos="2774">
          <p15:clr>
            <a:srgbClr val="F26B43"/>
          </p15:clr>
        </p15:guide>
        <p15:guide id="4" pos="5087">
          <p15:clr>
            <a:srgbClr val="F26B43"/>
          </p15:clr>
        </p15:guide>
        <p15:guide id="5" orient="horz" pos="754">
          <p15:clr>
            <a:srgbClr val="A4A3A4"/>
          </p15:clr>
        </p15:guide>
        <p15:guide id="6" orient="horz" pos="640">
          <p15:clr>
            <a:srgbClr val="A4A3A4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e mit Bildplatzhalter (unten) /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9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1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64" name="Picture Placeholder 63">
            <a:extLst>
              <a:ext uri="{FF2B5EF4-FFF2-40B4-BE49-F238E27FC236}">
                <a16:creationId xmlns:a16="http://schemas.microsoft.com/office/drawing/2014/main" id="{60ED6361-F72E-4082-BD9A-CC3E00274DD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70195F57-E2B4-4C17-921E-D0505DD50D4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4" y="335583"/>
            <a:ext cx="3349484" cy="5230829"/>
          </a:xfrm>
          <a:custGeom>
            <a:avLst/>
            <a:gdLst>
              <a:gd name="connsiteX0" fmla="*/ 0 w 3349484"/>
              <a:gd name="connsiteY0" fmla="*/ 0 h 5230829"/>
              <a:gd name="connsiteX1" fmla="*/ 3349484 w 3349484"/>
              <a:gd name="connsiteY1" fmla="*/ 0 h 5230829"/>
              <a:gd name="connsiteX2" fmla="*/ 3349484 w 3349484"/>
              <a:gd name="connsiteY2" fmla="*/ 4907329 h 5230829"/>
              <a:gd name="connsiteX3" fmla="*/ 0 w 3349484"/>
              <a:gd name="connsiteY3" fmla="*/ 5230829 h 5230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9484" h="5230829">
                <a:moveTo>
                  <a:pt x="0" y="0"/>
                </a:moveTo>
                <a:lnTo>
                  <a:pt x="3349484" y="0"/>
                </a:lnTo>
                <a:lnTo>
                  <a:pt x="3349484" y="4907329"/>
                </a:lnTo>
                <a:lnTo>
                  <a:pt x="0" y="5230829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360000" tIns="360000" rIns="360000" bIns="360000">
            <a:noAutofit/>
          </a:bodyPr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42F5AE94-26CB-4B52-9D32-BB3573223A2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03725" y="335583"/>
            <a:ext cx="3384549" cy="4879564"/>
          </a:xfrm>
          <a:custGeom>
            <a:avLst/>
            <a:gdLst>
              <a:gd name="connsiteX0" fmla="*/ 0 w 3384549"/>
              <a:gd name="connsiteY0" fmla="*/ 0 h 4879564"/>
              <a:gd name="connsiteX1" fmla="*/ 3384549 w 3384549"/>
              <a:gd name="connsiteY1" fmla="*/ 0 h 4879564"/>
              <a:gd name="connsiteX2" fmla="*/ 3384549 w 3384549"/>
              <a:gd name="connsiteY2" fmla="*/ 4552678 h 4879564"/>
              <a:gd name="connsiteX3" fmla="*/ 0 w 3384549"/>
              <a:gd name="connsiteY3" fmla="*/ 4879564 h 4879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84549" h="4879564">
                <a:moveTo>
                  <a:pt x="0" y="0"/>
                </a:moveTo>
                <a:lnTo>
                  <a:pt x="3384549" y="0"/>
                </a:lnTo>
                <a:lnTo>
                  <a:pt x="3384549" y="4552678"/>
                </a:lnTo>
                <a:lnTo>
                  <a:pt x="0" y="487956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36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7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9" name="Text Placeholder 57">
            <a:extLst>
              <a:ext uri="{FF2B5EF4-FFF2-40B4-BE49-F238E27FC236}">
                <a16:creationId xmlns:a16="http://schemas.microsoft.com/office/drawing/2014/main" id="{0E6FBE4D-8582-45C3-B225-A176E840E4D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4501" y="3763964"/>
            <a:ext cx="2069066" cy="1715020"/>
          </a:xfrm>
          <a:blipFill>
            <a:blip r:embed="rId8"/>
            <a:stretch>
              <a:fillRect l="117"/>
            </a:stretch>
          </a:blipFill>
        </p:spPr>
        <p:txBody>
          <a:bodyPr anchor="ctr"/>
          <a:lstStyle>
            <a:lvl1pPr marL="0" indent="0" algn="ctr">
              <a:buNone/>
              <a:defRPr>
                <a:blipFill>
                  <a:blip r:embed="rId8"/>
                  <a:stretch>
                    <a:fillRect l="117"/>
                  </a:stretch>
                </a:blipFill>
                <a:effectLst>
                  <a:outerShdw blurRad="50800" dist="50800" dir="5400000" algn="ctr" rotWithShape="0">
                    <a:srgbClr val="000000"/>
                  </a:outerShdw>
                </a:effectLst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E292EBB7-7039-4D87-BCDC-FB6BB4FB0E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93063" y="4715053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D934306D-3770-2A4E-A9E7-7D0A21B68A9E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3" name="Text Placeholder 55">
            <a:extLst>
              <a:ext uri="{FF2B5EF4-FFF2-40B4-BE49-F238E27FC236}">
                <a16:creationId xmlns:a16="http://schemas.microsoft.com/office/drawing/2014/main" id="{386C06A8-E4A0-47F2-A0F9-69485B85698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75751" y="335583"/>
            <a:ext cx="3349487" cy="4524912"/>
          </a:xfrm>
          <a:custGeom>
            <a:avLst/>
            <a:gdLst>
              <a:gd name="connsiteX0" fmla="*/ 0 w 3349487"/>
              <a:gd name="connsiteY0" fmla="*/ 0 h 4524912"/>
              <a:gd name="connsiteX1" fmla="*/ 3349487 w 3349487"/>
              <a:gd name="connsiteY1" fmla="*/ 0 h 4524912"/>
              <a:gd name="connsiteX2" fmla="*/ 3349487 w 3349487"/>
              <a:gd name="connsiteY2" fmla="*/ 4201413 h 4524912"/>
              <a:gd name="connsiteX3" fmla="*/ 0 w 3349487"/>
              <a:gd name="connsiteY3" fmla="*/ 4524912 h 452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9487" h="4524912">
                <a:moveTo>
                  <a:pt x="0" y="0"/>
                </a:moveTo>
                <a:lnTo>
                  <a:pt x="3349487" y="0"/>
                </a:lnTo>
                <a:lnTo>
                  <a:pt x="3349487" y="4201413"/>
                </a:lnTo>
                <a:lnTo>
                  <a:pt x="0" y="4524912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36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FontTx/>
              <a:buBlip>
                <a:blip r:embed="rId9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11027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06">
          <p15:clr>
            <a:srgbClr val="F26B43"/>
          </p15:clr>
        </p15:guide>
        <p15:guide id="2" pos="2593">
          <p15:clr>
            <a:srgbClr val="F26B43"/>
          </p15:clr>
        </p15:guide>
        <p15:guide id="3" pos="2774">
          <p15:clr>
            <a:srgbClr val="F26B43"/>
          </p15:clr>
        </p15:guide>
        <p15:guide id="4" pos="5087">
          <p15:clr>
            <a:srgbClr val="F26B43"/>
          </p15:clr>
        </p15:guide>
        <p15:guide id="5" orient="horz" pos="754">
          <p15:clr>
            <a:srgbClr val="A4A3A4"/>
          </p15:clr>
        </p15:guide>
        <p15:guide id="6" orient="horz" pos="640">
          <p15:clr>
            <a:srgbClr val="A4A3A4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e mit Bildplatzhalter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1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1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64" name="Picture Placeholder 63">
            <a:extLst>
              <a:ext uri="{FF2B5EF4-FFF2-40B4-BE49-F238E27FC236}">
                <a16:creationId xmlns:a16="http://schemas.microsoft.com/office/drawing/2014/main" id="{60ED6361-F72E-4082-BD9A-CC3E00274DD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2AC76D0E-2E74-40A1-90B8-A4BCCDCE6C5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4" y="335584"/>
            <a:ext cx="2448618" cy="5234187"/>
          </a:xfrm>
          <a:custGeom>
            <a:avLst/>
            <a:gdLst>
              <a:gd name="connsiteX0" fmla="*/ 0 w 2448618"/>
              <a:gd name="connsiteY0" fmla="*/ 0 h 5234187"/>
              <a:gd name="connsiteX1" fmla="*/ 2448618 w 2448618"/>
              <a:gd name="connsiteY1" fmla="*/ 0 h 5234187"/>
              <a:gd name="connsiteX2" fmla="*/ 2448618 w 2448618"/>
              <a:gd name="connsiteY2" fmla="*/ 4998597 h 5234187"/>
              <a:gd name="connsiteX3" fmla="*/ 0 w 2448618"/>
              <a:gd name="connsiteY3" fmla="*/ 5234187 h 5234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18" h="5234187">
                <a:moveTo>
                  <a:pt x="0" y="0"/>
                </a:moveTo>
                <a:lnTo>
                  <a:pt x="2448618" y="0"/>
                </a:lnTo>
                <a:lnTo>
                  <a:pt x="2448618" y="4998597"/>
                </a:lnTo>
                <a:lnTo>
                  <a:pt x="0" y="5234187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180000" tIns="360000" rIns="180000" bIns="360000">
            <a:noAutofit/>
          </a:bodyPr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699A7C70-A183-4EE4-A764-684D3950B6C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03382" y="335585"/>
            <a:ext cx="2448619" cy="4970887"/>
          </a:xfrm>
          <a:custGeom>
            <a:avLst/>
            <a:gdLst>
              <a:gd name="connsiteX0" fmla="*/ 0 w 2448619"/>
              <a:gd name="connsiteY0" fmla="*/ 0 h 4970887"/>
              <a:gd name="connsiteX1" fmla="*/ 2448619 w 2448619"/>
              <a:gd name="connsiteY1" fmla="*/ 0 h 4970887"/>
              <a:gd name="connsiteX2" fmla="*/ 2448619 w 2448619"/>
              <a:gd name="connsiteY2" fmla="*/ 4735296 h 4970887"/>
              <a:gd name="connsiteX3" fmla="*/ 0 w 2448619"/>
              <a:gd name="connsiteY3" fmla="*/ 4970887 h 4970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19" h="4970887">
                <a:moveTo>
                  <a:pt x="0" y="0"/>
                </a:moveTo>
                <a:lnTo>
                  <a:pt x="2448619" y="0"/>
                </a:lnTo>
                <a:lnTo>
                  <a:pt x="2448619" y="4735296"/>
                </a:lnTo>
                <a:lnTo>
                  <a:pt x="0" y="497088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80000" tIns="360000" rIns="18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7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9" name="Text Placeholder 57">
            <a:extLst>
              <a:ext uri="{FF2B5EF4-FFF2-40B4-BE49-F238E27FC236}">
                <a16:creationId xmlns:a16="http://schemas.microsoft.com/office/drawing/2014/main" id="{0E6FBE4D-8582-45C3-B225-A176E840E4D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6540" y="3833610"/>
            <a:ext cx="2069066" cy="1715020"/>
          </a:xfrm>
          <a:blipFill>
            <a:blip r:embed="rId8"/>
            <a:stretch>
              <a:fillRect l="117"/>
            </a:stretch>
          </a:blipFill>
        </p:spPr>
        <p:txBody>
          <a:bodyPr anchor="ctr"/>
          <a:lstStyle>
            <a:lvl1pPr marL="0" indent="0" algn="ctr">
              <a:buNone/>
              <a:defRPr>
                <a:blipFill>
                  <a:blip r:embed="rId8"/>
                  <a:stretch>
                    <a:fillRect l="117"/>
                  </a:stretch>
                </a:blipFill>
                <a:effectLst>
                  <a:outerShdw blurRad="50800" dist="50800" dir="5400000" algn="ctr" rotWithShape="0">
                    <a:srgbClr val="000000"/>
                  </a:outerShdw>
                </a:effectLst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E292EBB7-7039-4D87-BCDC-FB6BB4FB0E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691582" y="4745837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6251894B-5D3F-C541-B52A-E62499E80655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71A3D910-AF8D-4A10-93AD-2A155C4B53D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40000" y="335585"/>
            <a:ext cx="2448618" cy="4707587"/>
          </a:xfrm>
          <a:custGeom>
            <a:avLst/>
            <a:gdLst>
              <a:gd name="connsiteX0" fmla="*/ 0 w 2448618"/>
              <a:gd name="connsiteY0" fmla="*/ 0 h 4707587"/>
              <a:gd name="connsiteX1" fmla="*/ 2448618 w 2448618"/>
              <a:gd name="connsiteY1" fmla="*/ 0 h 4707587"/>
              <a:gd name="connsiteX2" fmla="*/ 2448618 w 2448618"/>
              <a:gd name="connsiteY2" fmla="*/ 4471997 h 4707587"/>
              <a:gd name="connsiteX3" fmla="*/ 0 w 2448618"/>
              <a:gd name="connsiteY3" fmla="*/ 4707587 h 4707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18" h="4707587">
                <a:moveTo>
                  <a:pt x="0" y="0"/>
                </a:moveTo>
                <a:lnTo>
                  <a:pt x="2448618" y="0"/>
                </a:lnTo>
                <a:lnTo>
                  <a:pt x="2448618" y="4471997"/>
                </a:lnTo>
                <a:lnTo>
                  <a:pt x="0" y="4707587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180000" tIns="360000" rIns="180000" bIns="360000">
            <a:noAutofit/>
          </a:bodyPr>
          <a:lstStyle>
            <a:lvl1pPr>
              <a:buClr>
                <a:schemeClr val="tx1"/>
              </a:buClr>
              <a:defRPr spc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pc="0">
                <a:solidFill>
                  <a:schemeClr val="tx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9"/>
              </a:buBlip>
              <a:defRPr spc="0">
                <a:solidFill>
                  <a:schemeClr val="tx1"/>
                </a:solidFill>
              </a:defRPr>
            </a:lvl3pPr>
            <a:lvl4pPr>
              <a:defRPr spc="0">
                <a:solidFill>
                  <a:schemeClr val="tx1"/>
                </a:solidFill>
              </a:defRPr>
            </a:lvl4pPr>
            <a:lvl5pPr>
              <a:defRPr spc="0">
                <a:solidFill>
                  <a:schemeClr val="tx1"/>
                </a:solidFill>
              </a:defRPr>
            </a:lvl5pPr>
            <a:lvl6pPr>
              <a:defRPr spc="0">
                <a:solidFill>
                  <a:schemeClr val="tx1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54B18E07-3099-461D-AABB-46E95D25B0C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976618" y="335583"/>
            <a:ext cx="2448618" cy="4444288"/>
          </a:xfrm>
          <a:custGeom>
            <a:avLst/>
            <a:gdLst>
              <a:gd name="connsiteX0" fmla="*/ 0 w 2448618"/>
              <a:gd name="connsiteY0" fmla="*/ 0 h 4444288"/>
              <a:gd name="connsiteX1" fmla="*/ 2448618 w 2448618"/>
              <a:gd name="connsiteY1" fmla="*/ 0 h 4444288"/>
              <a:gd name="connsiteX2" fmla="*/ 2448618 w 2448618"/>
              <a:gd name="connsiteY2" fmla="*/ 4208698 h 4444288"/>
              <a:gd name="connsiteX3" fmla="*/ 0 w 2448618"/>
              <a:gd name="connsiteY3" fmla="*/ 4444288 h 4444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18" h="4444288">
                <a:moveTo>
                  <a:pt x="0" y="0"/>
                </a:moveTo>
                <a:lnTo>
                  <a:pt x="2448618" y="0"/>
                </a:lnTo>
                <a:lnTo>
                  <a:pt x="2448618" y="4208698"/>
                </a:lnTo>
                <a:lnTo>
                  <a:pt x="0" y="4444288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180000" tIns="360000" rIns="180000" bIns="360000">
            <a:noAutofit/>
          </a:bodyPr>
          <a:lstStyle>
            <a:lvl1pPr>
              <a:buClr>
                <a:schemeClr val="tx1"/>
              </a:buClr>
              <a:defRPr spc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pc="0">
                <a:solidFill>
                  <a:schemeClr val="tx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9"/>
              </a:buBlip>
              <a:defRPr spc="0">
                <a:solidFill>
                  <a:schemeClr val="tx1"/>
                </a:solidFill>
              </a:defRPr>
            </a:lvl3pPr>
            <a:lvl4pPr>
              <a:defRPr spc="0">
                <a:solidFill>
                  <a:schemeClr val="tx1"/>
                </a:solidFill>
              </a:defRPr>
            </a:lvl4pPr>
            <a:lvl5pPr>
              <a:defRPr spc="0">
                <a:solidFill>
                  <a:schemeClr val="tx1"/>
                </a:solidFill>
              </a:defRPr>
            </a:lvl5pPr>
            <a:lvl6pPr>
              <a:defRPr spc="0">
                <a:solidFill>
                  <a:schemeClr val="tx1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15075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26B43"/>
          </p15:clr>
        </p15:guide>
        <p15:guide id="2" pos="3931">
          <p15:clr>
            <a:srgbClr val="F26B43"/>
          </p15:clr>
        </p15:guide>
        <p15:guide id="3" orient="horz" pos="754">
          <p15:clr>
            <a:srgbClr val="A4A3A4"/>
          </p15:clr>
        </p15:guide>
        <p15:guide id="4" orient="horz" pos="640">
          <p15:clr>
            <a:srgbClr val="A4A3A4"/>
          </p15:clr>
        </p15:guide>
        <p15:guide id="5" pos="5654">
          <p15:clr>
            <a:srgbClr val="F26B43"/>
          </p15:clr>
        </p15:guide>
        <p15:guide id="6" pos="5473">
          <p15:clr>
            <a:srgbClr val="F26B43"/>
          </p15:clr>
        </p15:guide>
        <p15:guide id="7" pos="2207">
          <p15:clr>
            <a:srgbClr val="F26B43"/>
          </p15:clr>
        </p15:guide>
        <p15:guide id="8" pos="2026">
          <p15:clr>
            <a:srgbClr val="F26B43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2 Texten und Bildplatzhalter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8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063C7026-C875-4E69-BA5F-F496B8D31A7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spcAft>
                <a:spcPts val="1200"/>
              </a:spcAft>
            </a:pPr>
            <a:endParaRPr lang="de-DE" sz="2000" kern="6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8" name="Picture Placeholder 63">
            <a:extLst>
              <a:ext uri="{FF2B5EF4-FFF2-40B4-BE49-F238E27FC236}">
                <a16:creationId xmlns:a16="http://schemas.microsoft.com/office/drawing/2014/main" id="{004056D1-7168-4A16-801D-88B4BF20AE3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1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144BAB1F-8DA3-4C74-9036-E918CD77BD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3" y="1196976"/>
            <a:ext cx="5185238" cy="4372795"/>
          </a:xfrm>
          <a:custGeom>
            <a:avLst/>
            <a:gdLst>
              <a:gd name="connsiteX0" fmla="*/ 0 w 5185238"/>
              <a:gd name="connsiteY0" fmla="*/ 0 h 4372795"/>
              <a:gd name="connsiteX1" fmla="*/ 5185238 w 5185238"/>
              <a:gd name="connsiteY1" fmla="*/ 0 h 4372795"/>
              <a:gd name="connsiteX2" fmla="*/ 5185238 w 5185238"/>
              <a:gd name="connsiteY2" fmla="*/ 3873905 h 4372795"/>
              <a:gd name="connsiteX3" fmla="*/ 2431692 w 5185238"/>
              <a:gd name="connsiteY3" fmla="*/ 4138834 h 4372795"/>
              <a:gd name="connsiteX4" fmla="*/ 0 w 5185238"/>
              <a:gd name="connsiteY4" fmla="*/ 4372795 h 43727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85238" h="4372795">
                <a:moveTo>
                  <a:pt x="0" y="0"/>
                </a:moveTo>
                <a:lnTo>
                  <a:pt x="5185238" y="0"/>
                </a:lnTo>
                <a:lnTo>
                  <a:pt x="5185238" y="3873905"/>
                </a:lnTo>
                <a:lnTo>
                  <a:pt x="2431692" y="4138834"/>
                </a:lnTo>
                <a:lnTo>
                  <a:pt x="0" y="4372795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360000" tIns="360000" rIns="360000" bIns="360000">
            <a:noAutofit/>
          </a:bodyPr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DB6ADC81-7D97-467A-B7E6-238D218159A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40000" y="1196975"/>
            <a:ext cx="5185236" cy="3846197"/>
          </a:xfrm>
          <a:custGeom>
            <a:avLst/>
            <a:gdLst>
              <a:gd name="connsiteX0" fmla="*/ 0 w 5185236"/>
              <a:gd name="connsiteY0" fmla="*/ 0 h 3846197"/>
              <a:gd name="connsiteX1" fmla="*/ 5185236 w 5185236"/>
              <a:gd name="connsiteY1" fmla="*/ 0 h 3846197"/>
              <a:gd name="connsiteX2" fmla="*/ 5185236 w 5185236"/>
              <a:gd name="connsiteY2" fmla="*/ 3347307 h 3846197"/>
              <a:gd name="connsiteX3" fmla="*/ 0 w 5185236"/>
              <a:gd name="connsiteY3" fmla="*/ 3846197 h 3846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85236" h="3846197">
                <a:moveTo>
                  <a:pt x="0" y="0"/>
                </a:moveTo>
                <a:lnTo>
                  <a:pt x="5185236" y="0"/>
                </a:lnTo>
                <a:lnTo>
                  <a:pt x="5185236" y="3347307"/>
                </a:lnTo>
                <a:lnTo>
                  <a:pt x="0" y="384619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36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8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9" name="Text Placeholder 57">
            <a:extLst>
              <a:ext uri="{FF2B5EF4-FFF2-40B4-BE49-F238E27FC236}">
                <a16:creationId xmlns:a16="http://schemas.microsoft.com/office/drawing/2014/main" id="{0E6FBE4D-8582-45C3-B225-A176E840E4D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26361" y="3558602"/>
            <a:ext cx="2069066" cy="1715020"/>
          </a:xfrm>
          <a:blipFill>
            <a:blip r:embed="rId9"/>
            <a:stretch>
              <a:fillRect l="117"/>
            </a:stretch>
          </a:blipFill>
        </p:spPr>
        <p:txBody>
          <a:bodyPr anchor="ctr"/>
          <a:lstStyle>
            <a:lvl1pPr marL="0" indent="0" algn="ctr">
              <a:buNone/>
              <a:defRPr>
                <a:blipFill>
                  <a:blip r:embed="rId9"/>
                  <a:stretch>
                    <a:fillRect l="117"/>
                  </a:stretch>
                </a:blipFill>
                <a:effectLst>
                  <a:outerShdw blurRad="50800" dist="50800" dir="5400000" algn="ctr" rotWithShape="0">
                    <a:srgbClr val="000000"/>
                  </a:outerShdw>
                </a:effectLst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E292EBB7-7039-4D87-BCDC-FB6BB4FB0E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28201" y="4484284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6251894B-5D3F-C541-B52A-E62499E80655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C8A9898-6DBB-4A1B-9BF7-F1646A33EEF4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02D993-7EF4-4273-AFC6-CA85D55A1C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0704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26B43"/>
          </p15:clr>
        </p15:guide>
        <p15:guide id="2" pos="3931">
          <p15:clr>
            <a:srgbClr val="F26B43"/>
          </p15:clr>
        </p15:guide>
        <p15:guide id="3" orient="horz" pos="754">
          <p15:clr>
            <a:srgbClr val="A4A3A4"/>
          </p15:clr>
        </p15:guide>
        <p15:guide id="4" orient="horz" pos="640">
          <p15:clr>
            <a:srgbClr val="A4A3A4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3 Texten und Bildplatzhalter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62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8C537BA-F270-492E-9842-0197B8523B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spcAft>
                <a:spcPts val="1200"/>
              </a:spcAft>
            </a:pPr>
            <a:endParaRPr lang="de-DE" sz="2000" kern="6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8" name="Picture Placeholder 63">
            <a:extLst>
              <a:ext uri="{FF2B5EF4-FFF2-40B4-BE49-F238E27FC236}">
                <a16:creationId xmlns:a16="http://schemas.microsoft.com/office/drawing/2014/main" id="{004056D1-7168-4A16-801D-88B4BF20AE3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1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6251894B-5D3F-C541-B52A-E62499E80655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C8A9898-6DBB-4A1B-9BF7-F1646A33EEF4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D6AB30F3-FA02-447B-B929-87AE828698B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4" y="1196975"/>
            <a:ext cx="3349484" cy="4369437"/>
          </a:xfrm>
          <a:custGeom>
            <a:avLst/>
            <a:gdLst>
              <a:gd name="connsiteX0" fmla="*/ 0 w 3349484"/>
              <a:gd name="connsiteY0" fmla="*/ 0 h 4369437"/>
              <a:gd name="connsiteX1" fmla="*/ 3349484 w 3349484"/>
              <a:gd name="connsiteY1" fmla="*/ 0 h 4369437"/>
              <a:gd name="connsiteX2" fmla="*/ 3349484 w 3349484"/>
              <a:gd name="connsiteY2" fmla="*/ 4045937 h 4369437"/>
              <a:gd name="connsiteX3" fmla="*/ 0 w 3349484"/>
              <a:gd name="connsiteY3" fmla="*/ 4369437 h 4369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9484" h="4369437">
                <a:moveTo>
                  <a:pt x="0" y="0"/>
                </a:moveTo>
                <a:lnTo>
                  <a:pt x="3349484" y="0"/>
                </a:lnTo>
                <a:lnTo>
                  <a:pt x="3349484" y="4045937"/>
                </a:lnTo>
                <a:lnTo>
                  <a:pt x="0" y="4369437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360000" tIns="360000" rIns="360000" bIns="360000">
            <a:noAutofit/>
          </a:bodyPr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390BCA02-29C1-410D-99F8-06A6E3AC49E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03726" y="1196975"/>
            <a:ext cx="3384548" cy="4018172"/>
          </a:xfrm>
          <a:custGeom>
            <a:avLst/>
            <a:gdLst>
              <a:gd name="connsiteX0" fmla="*/ 0 w 3384548"/>
              <a:gd name="connsiteY0" fmla="*/ 0 h 4018172"/>
              <a:gd name="connsiteX1" fmla="*/ 3384548 w 3384548"/>
              <a:gd name="connsiteY1" fmla="*/ 0 h 4018172"/>
              <a:gd name="connsiteX2" fmla="*/ 3384548 w 3384548"/>
              <a:gd name="connsiteY2" fmla="*/ 3691286 h 4018172"/>
              <a:gd name="connsiteX3" fmla="*/ 0 w 3384548"/>
              <a:gd name="connsiteY3" fmla="*/ 4018172 h 4018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84548" h="4018172">
                <a:moveTo>
                  <a:pt x="0" y="0"/>
                </a:moveTo>
                <a:lnTo>
                  <a:pt x="3384548" y="0"/>
                </a:lnTo>
                <a:lnTo>
                  <a:pt x="3384548" y="3691286"/>
                </a:lnTo>
                <a:lnTo>
                  <a:pt x="0" y="4018172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36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8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0" name="Text Placeholder 57">
            <a:extLst>
              <a:ext uri="{FF2B5EF4-FFF2-40B4-BE49-F238E27FC236}">
                <a16:creationId xmlns:a16="http://schemas.microsoft.com/office/drawing/2014/main" id="{B2BA0479-354B-4453-9BD9-3B75CA9E75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4501" y="3763964"/>
            <a:ext cx="2069066" cy="1715020"/>
          </a:xfrm>
          <a:blipFill>
            <a:blip r:embed="rId9"/>
            <a:stretch>
              <a:fillRect l="117"/>
            </a:stretch>
          </a:blipFill>
        </p:spPr>
        <p:txBody>
          <a:bodyPr anchor="ctr"/>
          <a:lstStyle>
            <a:lvl1pPr marL="0" indent="0" algn="ctr">
              <a:buNone/>
              <a:defRPr>
                <a:blipFill>
                  <a:blip r:embed="rId9"/>
                  <a:stretch>
                    <a:fillRect l="117"/>
                  </a:stretch>
                </a:blipFill>
                <a:effectLst>
                  <a:outerShdw blurRad="50800" dist="50800" dir="5400000" algn="ctr" rotWithShape="0">
                    <a:srgbClr val="000000"/>
                  </a:outerShdw>
                </a:effectLst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21" name="Text Placeholder 61">
            <a:extLst>
              <a:ext uri="{FF2B5EF4-FFF2-40B4-BE49-F238E27FC236}">
                <a16:creationId xmlns:a16="http://schemas.microsoft.com/office/drawing/2014/main" id="{F1711DD1-B6B3-4336-9361-47CF8788980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93063" y="4715053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F548BEAD-49B1-4AFC-9311-CB049C5F0EA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75751" y="1196975"/>
            <a:ext cx="3349487" cy="3663520"/>
          </a:xfrm>
          <a:custGeom>
            <a:avLst/>
            <a:gdLst>
              <a:gd name="connsiteX0" fmla="*/ 0 w 3349487"/>
              <a:gd name="connsiteY0" fmla="*/ 0 h 3663520"/>
              <a:gd name="connsiteX1" fmla="*/ 3349487 w 3349487"/>
              <a:gd name="connsiteY1" fmla="*/ 0 h 3663520"/>
              <a:gd name="connsiteX2" fmla="*/ 3349487 w 3349487"/>
              <a:gd name="connsiteY2" fmla="*/ 3340021 h 3663520"/>
              <a:gd name="connsiteX3" fmla="*/ 0 w 3349487"/>
              <a:gd name="connsiteY3" fmla="*/ 3663520 h 366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9487" h="3663520">
                <a:moveTo>
                  <a:pt x="0" y="0"/>
                </a:moveTo>
                <a:lnTo>
                  <a:pt x="3349487" y="0"/>
                </a:lnTo>
                <a:lnTo>
                  <a:pt x="3349487" y="3340021"/>
                </a:lnTo>
                <a:lnTo>
                  <a:pt x="0" y="366352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36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FontTx/>
              <a:buBlip>
                <a:blip r:embed="rId10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64A26B-C22C-4086-8C39-33D2956F5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81517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26B43"/>
          </p15:clr>
        </p15:guide>
        <p15:guide id="2" pos="3931">
          <p15:clr>
            <a:srgbClr val="F26B43"/>
          </p15:clr>
        </p15:guide>
        <p15:guide id="3" orient="horz" pos="754">
          <p15:clr>
            <a:srgbClr val="A4A3A4"/>
          </p15:clr>
        </p15:guide>
        <p15:guide id="4" orient="horz" pos="640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// 2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9914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6B70AA37-E0FC-4DDD-83BC-51CD76943BD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967663" y="1760434"/>
            <a:ext cx="4224337" cy="3187994"/>
          </a:xfrm>
          <a:custGeom>
            <a:avLst/>
            <a:gdLst>
              <a:gd name="connsiteX0" fmla="*/ 4224337 w 4224337"/>
              <a:gd name="connsiteY0" fmla="*/ 0 h 3187994"/>
              <a:gd name="connsiteX1" fmla="*/ 4224337 w 4224337"/>
              <a:gd name="connsiteY1" fmla="*/ 2779999 h 3187994"/>
              <a:gd name="connsiteX2" fmla="*/ 0 w 4224337"/>
              <a:gd name="connsiteY2" fmla="*/ 3187994 h 3187994"/>
              <a:gd name="connsiteX3" fmla="*/ 0 w 4224337"/>
              <a:gd name="connsiteY3" fmla="*/ 407995 h 3187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4337" h="3187994">
                <a:moveTo>
                  <a:pt x="4224337" y="0"/>
                </a:moveTo>
                <a:lnTo>
                  <a:pt x="4224337" y="2779999"/>
                </a:lnTo>
                <a:lnTo>
                  <a:pt x="0" y="3187994"/>
                </a:lnTo>
                <a:lnTo>
                  <a:pt x="0" y="40799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13FAB4FD-6DEF-43B5-849A-C9540A5EA47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967663" y="333693"/>
            <a:ext cx="4224337" cy="1556209"/>
          </a:xfrm>
          <a:custGeom>
            <a:avLst/>
            <a:gdLst>
              <a:gd name="connsiteX0" fmla="*/ 0 w 4224337"/>
              <a:gd name="connsiteY0" fmla="*/ 0 h 1556209"/>
              <a:gd name="connsiteX1" fmla="*/ 4224337 w 4224337"/>
              <a:gd name="connsiteY1" fmla="*/ 0 h 1556209"/>
              <a:gd name="connsiteX2" fmla="*/ 4224337 w 4224337"/>
              <a:gd name="connsiteY2" fmla="*/ 1148214 h 1556209"/>
              <a:gd name="connsiteX3" fmla="*/ 0 w 4224337"/>
              <a:gd name="connsiteY3" fmla="*/ 1556209 h 1556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4337" h="1556209">
                <a:moveTo>
                  <a:pt x="0" y="0"/>
                </a:moveTo>
                <a:lnTo>
                  <a:pt x="4224337" y="0"/>
                </a:lnTo>
                <a:lnTo>
                  <a:pt x="4224337" y="1148214"/>
                </a:lnTo>
                <a:lnTo>
                  <a:pt x="0" y="1556209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0E83E4A-9A3D-4624-A632-4365CC9008C6}"/>
              </a:ext>
            </a:extLst>
          </p:cNvPr>
          <p:cNvGrpSpPr/>
          <p:nvPr userDrawn="1"/>
        </p:nvGrpSpPr>
        <p:grpSpPr>
          <a:xfrm>
            <a:off x="-14320" y="4523949"/>
            <a:ext cx="12206319" cy="2084670"/>
            <a:chOff x="-14320" y="4773330"/>
            <a:chExt cx="12206319" cy="2084670"/>
          </a:xfrm>
          <a:solidFill>
            <a:schemeClr val="bg1"/>
          </a:solidFill>
        </p:grpSpPr>
        <p:sp>
          <p:nvSpPr>
            <p:cNvPr id="12" name="Freihandform: Form 36">
              <a:extLst>
                <a:ext uri="{FF2B5EF4-FFF2-40B4-BE49-F238E27FC236}">
                  <a16:creationId xmlns:a16="http://schemas.microsoft.com/office/drawing/2014/main" id="{0CCDEB08-509C-412A-B334-886FA8CA4A53}"/>
                </a:ext>
              </a:extLst>
            </p:cNvPr>
            <p:cNvSpPr/>
            <p:nvPr/>
          </p:nvSpPr>
          <p:spPr>
            <a:xfrm>
              <a:off x="-14320" y="4773330"/>
              <a:ext cx="12206319" cy="1177527"/>
            </a:xfrm>
            <a:custGeom>
              <a:avLst/>
              <a:gdLst>
                <a:gd name="connsiteX0" fmla="*/ 6984082 w 6984082"/>
                <a:gd name="connsiteY0" fmla="*/ 0 h 1087864"/>
                <a:gd name="connsiteX1" fmla="*/ 6984082 w 6984082"/>
                <a:gd name="connsiteY1" fmla="*/ 537210 h 1087864"/>
                <a:gd name="connsiteX2" fmla="*/ 6984082 w 6984082"/>
                <a:gd name="connsiteY2" fmla="*/ 1087864 h 1087864"/>
                <a:gd name="connsiteX3" fmla="*/ 0 w 6984082"/>
                <a:gd name="connsiteY3" fmla="*/ 1087864 h 108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4082" h="1087864">
                  <a:moveTo>
                    <a:pt x="6984082" y="0"/>
                  </a:moveTo>
                  <a:lnTo>
                    <a:pt x="6984082" y="537210"/>
                  </a:lnTo>
                  <a:lnTo>
                    <a:pt x="6984082" y="1087864"/>
                  </a:lnTo>
                  <a:lnTo>
                    <a:pt x="0" y="108786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Freihandform: Form 36">
              <a:extLst>
                <a:ext uri="{FF2B5EF4-FFF2-40B4-BE49-F238E27FC236}">
                  <a16:creationId xmlns:a16="http://schemas.microsoft.com/office/drawing/2014/main" id="{5F6B9C06-4759-4BDD-8A87-6A0B93D8BF27}"/>
                </a:ext>
              </a:extLst>
            </p:cNvPr>
            <p:cNvSpPr/>
            <p:nvPr/>
          </p:nvSpPr>
          <p:spPr>
            <a:xfrm>
              <a:off x="-14320" y="5950857"/>
              <a:ext cx="12206319" cy="907143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7B158FD-BC8B-4BD7-B30C-33155EC07E27}"/>
              </a:ext>
            </a:extLst>
          </p:cNvPr>
          <p:cNvGrpSpPr/>
          <p:nvPr userDrawn="1"/>
        </p:nvGrpSpPr>
        <p:grpSpPr>
          <a:xfrm>
            <a:off x="-14320" y="4773330"/>
            <a:ext cx="12206319" cy="2084670"/>
            <a:chOff x="-14320" y="4773330"/>
            <a:chExt cx="12206319" cy="2084670"/>
          </a:xfrm>
          <a:solidFill>
            <a:schemeClr val="tx1"/>
          </a:solidFill>
        </p:grpSpPr>
        <p:sp>
          <p:nvSpPr>
            <p:cNvPr id="18" name="Freihandform: Form 36">
              <a:extLst>
                <a:ext uri="{FF2B5EF4-FFF2-40B4-BE49-F238E27FC236}">
                  <a16:creationId xmlns:a16="http://schemas.microsoft.com/office/drawing/2014/main" id="{276FF15F-79EA-48EF-AB19-8EF5B83AA268}"/>
                </a:ext>
              </a:extLst>
            </p:cNvPr>
            <p:cNvSpPr/>
            <p:nvPr/>
          </p:nvSpPr>
          <p:spPr>
            <a:xfrm>
              <a:off x="-14320" y="4773330"/>
              <a:ext cx="12206319" cy="1177527"/>
            </a:xfrm>
            <a:custGeom>
              <a:avLst/>
              <a:gdLst>
                <a:gd name="connsiteX0" fmla="*/ 6984082 w 6984082"/>
                <a:gd name="connsiteY0" fmla="*/ 0 h 1087864"/>
                <a:gd name="connsiteX1" fmla="*/ 6984082 w 6984082"/>
                <a:gd name="connsiteY1" fmla="*/ 537210 h 1087864"/>
                <a:gd name="connsiteX2" fmla="*/ 6984082 w 6984082"/>
                <a:gd name="connsiteY2" fmla="*/ 1087864 h 1087864"/>
                <a:gd name="connsiteX3" fmla="*/ 0 w 6984082"/>
                <a:gd name="connsiteY3" fmla="*/ 1087864 h 108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4082" h="1087864">
                  <a:moveTo>
                    <a:pt x="6984082" y="0"/>
                  </a:moveTo>
                  <a:lnTo>
                    <a:pt x="6984082" y="537210"/>
                  </a:lnTo>
                  <a:lnTo>
                    <a:pt x="6984082" y="1087864"/>
                  </a:lnTo>
                  <a:lnTo>
                    <a:pt x="0" y="108786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9" name="Freihandform: Form 36">
              <a:extLst>
                <a:ext uri="{FF2B5EF4-FFF2-40B4-BE49-F238E27FC236}">
                  <a16:creationId xmlns:a16="http://schemas.microsoft.com/office/drawing/2014/main" id="{EE10ADC2-F397-424B-A593-F7D24FE8F642}"/>
                </a:ext>
              </a:extLst>
            </p:cNvPr>
            <p:cNvSpPr/>
            <p:nvPr/>
          </p:nvSpPr>
          <p:spPr>
            <a:xfrm>
              <a:off x="-14320" y="5950857"/>
              <a:ext cx="12206319" cy="907143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0" name="Freeform 27">
            <a:extLst>
              <a:ext uri="{FF2B5EF4-FFF2-40B4-BE49-F238E27FC236}">
                <a16:creationId xmlns:a16="http://schemas.microsoft.com/office/drawing/2014/main" id="{F99D45B5-30C5-4D8C-AD9A-57761B90366A}"/>
              </a:ext>
            </a:extLst>
          </p:cNvPr>
          <p:cNvSpPr/>
          <p:nvPr userDrawn="1"/>
        </p:nvSpPr>
        <p:spPr>
          <a:xfrm>
            <a:off x="9950300" y="5187321"/>
            <a:ext cx="2014480" cy="1670373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21" name="Grafik 7">
            <a:extLst>
              <a:ext uri="{FF2B5EF4-FFF2-40B4-BE49-F238E27FC236}">
                <a16:creationId xmlns:a16="http://schemas.microsoft.com/office/drawing/2014/main" id="{ABC8BF24-69D2-4ED3-A927-999B8112752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55612" y="5849915"/>
            <a:ext cx="2676530" cy="448275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69500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8B7D36-4FC7-458A-91CB-590EC03755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333692"/>
            <a:ext cx="6950075" cy="680356"/>
          </a:xfrm>
        </p:spPr>
        <p:txBody>
          <a:bodyPr/>
          <a:lstStyle>
            <a:lvl1pPr>
              <a:defRPr sz="2800"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466707-4BCC-41E0-BEB4-0622C3F345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3" y="3033264"/>
            <a:ext cx="6842125" cy="369332"/>
          </a:xfrm>
        </p:spPr>
        <p:txBody>
          <a:bodyPr anchor="ctr">
            <a:spAutoFit/>
          </a:bodyPr>
          <a:lstStyle>
            <a:lvl1pPr marL="457200" indent="-457200">
              <a:buFont typeface="+mj-lt"/>
              <a:buAutoNum type="arabicPeriod"/>
              <a:defRPr sz="2400" baseline="0"/>
            </a:lvl1pPr>
            <a:lvl2pPr marL="358775" indent="0">
              <a:buFont typeface="+mj-lt"/>
              <a:buNone/>
              <a:defRPr sz="2400"/>
            </a:lvl2pPr>
            <a:lvl3pPr marL="457200" indent="-457200">
              <a:buFont typeface="+mj-lt"/>
              <a:buAutoNum type="arabicPeriod"/>
              <a:defRPr sz="2400"/>
            </a:lvl3pPr>
            <a:lvl4pPr marL="457200" indent="-457200">
              <a:buFont typeface="+mj-lt"/>
              <a:buAutoNum type="arabicPeriod"/>
              <a:defRPr sz="2400"/>
            </a:lvl4pPr>
            <a:lvl5pPr marL="457200" indent="-457200">
              <a:buFont typeface="+mj-lt"/>
              <a:buAutoNum type="arabicPeriod"/>
              <a:defRPr sz="2400"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24064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 userDrawn="1">
          <p15:clr>
            <a:srgbClr val="F26B43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4 Texten und Bildplatzhalter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86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5843A7F5-0182-4E82-AFB1-CC53CC8C17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spcAft>
                <a:spcPts val="1200"/>
              </a:spcAft>
            </a:pPr>
            <a:endParaRPr lang="de-DE" sz="2000" kern="6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8" name="Picture Placeholder 63">
            <a:extLst>
              <a:ext uri="{FF2B5EF4-FFF2-40B4-BE49-F238E27FC236}">
                <a16:creationId xmlns:a16="http://schemas.microsoft.com/office/drawing/2014/main" id="{004056D1-7168-4A16-801D-88B4BF20AE3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1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6251894B-5D3F-C541-B52A-E62499E80655}"/>
              </a:ext>
            </a:extLst>
          </p:cNvPr>
          <p:cNvSpPr/>
          <p:nvPr userDrawn="1"/>
        </p:nvSpPr>
        <p:spPr>
          <a:xfrm>
            <a:off x="11534660" y="271677"/>
            <a:ext cx="661990" cy="74237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C8A9898-6DBB-4A1B-9BF7-F1646A33EEF4}"/>
              </a:ext>
            </a:extLst>
          </p:cNvPr>
          <p:cNvSpPr/>
          <p:nvPr userDrawn="1"/>
        </p:nvSpPr>
        <p:spPr>
          <a:xfrm>
            <a:off x="766763" y="333375"/>
            <a:ext cx="10658475" cy="680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660C2763-BC88-455C-AAAD-7B895AF9C3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4" y="1196975"/>
            <a:ext cx="2448618" cy="4372796"/>
          </a:xfrm>
          <a:custGeom>
            <a:avLst/>
            <a:gdLst>
              <a:gd name="connsiteX0" fmla="*/ 0 w 2448618"/>
              <a:gd name="connsiteY0" fmla="*/ 0 h 4372796"/>
              <a:gd name="connsiteX1" fmla="*/ 2448618 w 2448618"/>
              <a:gd name="connsiteY1" fmla="*/ 0 h 4372796"/>
              <a:gd name="connsiteX2" fmla="*/ 2448618 w 2448618"/>
              <a:gd name="connsiteY2" fmla="*/ 4137206 h 4372796"/>
              <a:gd name="connsiteX3" fmla="*/ 0 w 2448618"/>
              <a:gd name="connsiteY3" fmla="*/ 4372796 h 4372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18" h="4372796">
                <a:moveTo>
                  <a:pt x="0" y="0"/>
                </a:moveTo>
                <a:lnTo>
                  <a:pt x="2448618" y="0"/>
                </a:lnTo>
                <a:lnTo>
                  <a:pt x="2448618" y="4137206"/>
                </a:lnTo>
                <a:lnTo>
                  <a:pt x="0" y="4372796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180000" tIns="360000" rIns="180000" bIns="360000">
            <a:noAutofit/>
          </a:bodyPr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A9140D73-F6BF-406C-9D0F-2CFB8641E10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03381" y="1196975"/>
            <a:ext cx="2448620" cy="4109497"/>
          </a:xfrm>
          <a:custGeom>
            <a:avLst/>
            <a:gdLst>
              <a:gd name="connsiteX0" fmla="*/ 0 w 2448620"/>
              <a:gd name="connsiteY0" fmla="*/ 0 h 4109497"/>
              <a:gd name="connsiteX1" fmla="*/ 2448620 w 2448620"/>
              <a:gd name="connsiteY1" fmla="*/ 0 h 4109497"/>
              <a:gd name="connsiteX2" fmla="*/ 2448620 w 2448620"/>
              <a:gd name="connsiteY2" fmla="*/ 3873906 h 4109497"/>
              <a:gd name="connsiteX3" fmla="*/ 0 w 2448620"/>
              <a:gd name="connsiteY3" fmla="*/ 4109497 h 4109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20" h="4109497">
                <a:moveTo>
                  <a:pt x="0" y="0"/>
                </a:moveTo>
                <a:lnTo>
                  <a:pt x="2448620" y="0"/>
                </a:lnTo>
                <a:lnTo>
                  <a:pt x="2448620" y="3873906"/>
                </a:lnTo>
                <a:lnTo>
                  <a:pt x="0" y="410949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80000" tIns="360000" rIns="180000" bIns="360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8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0" name="Text Placeholder 57">
            <a:extLst>
              <a:ext uri="{FF2B5EF4-FFF2-40B4-BE49-F238E27FC236}">
                <a16:creationId xmlns:a16="http://schemas.microsoft.com/office/drawing/2014/main" id="{586CA799-B057-44C7-99C4-6F70BBC17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6540" y="3833610"/>
            <a:ext cx="2069066" cy="1715020"/>
          </a:xfrm>
          <a:blipFill>
            <a:blip r:embed="rId9"/>
            <a:stretch>
              <a:fillRect l="117"/>
            </a:stretch>
          </a:blipFill>
        </p:spPr>
        <p:txBody>
          <a:bodyPr anchor="ctr"/>
          <a:lstStyle>
            <a:lvl1pPr marL="0" indent="0" algn="ctr">
              <a:buNone/>
              <a:defRPr>
                <a:blipFill>
                  <a:blip r:embed="rId9"/>
                  <a:stretch>
                    <a:fillRect l="117"/>
                  </a:stretch>
                </a:blipFill>
                <a:effectLst>
                  <a:outerShdw blurRad="50800" dist="50800" dir="5400000" algn="ctr" rotWithShape="0">
                    <a:srgbClr val="000000"/>
                  </a:outerShdw>
                </a:effectLst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21" name="Text Placeholder 61">
            <a:extLst>
              <a:ext uri="{FF2B5EF4-FFF2-40B4-BE49-F238E27FC236}">
                <a16:creationId xmlns:a16="http://schemas.microsoft.com/office/drawing/2014/main" id="{E262FA7D-EE7C-450D-8F09-CC7E101E4B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691582" y="4745837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C5F7EFC0-BF14-455E-A781-C964300B7AF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40000" y="1196975"/>
            <a:ext cx="2448618" cy="3846197"/>
          </a:xfrm>
          <a:custGeom>
            <a:avLst/>
            <a:gdLst>
              <a:gd name="connsiteX0" fmla="*/ 0 w 2448618"/>
              <a:gd name="connsiteY0" fmla="*/ 0 h 3846197"/>
              <a:gd name="connsiteX1" fmla="*/ 2448618 w 2448618"/>
              <a:gd name="connsiteY1" fmla="*/ 0 h 3846197"/>
              <a:gd name="connsiteX2" fmla="*/ 2448618 w 2448618"/>
              <a:gd name="connsiteY2" fmla="*/ 3610607 h 3846197"/>
              <a:gd name="connsiteX3" fmla="*/ 0 w 2448618"/>
              <a:gd name="connsiteY3" fmla="*/ 3846197 h 3846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18" h="3846197">
                <a:moveTo>
                  <a:pt x="0" y="0"/>
                </a:moveTo>
                <a:lnTo>
                  <a:pt x="2448618" y="0"/>
                </a:lnTo>
                <a:lnTo>
                  <a:pt x="2448618" y="3610607"/>
                </a:lnTo>
                <a:lnTo>
                  <a:pt x="0" y="3846197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180000" tIns="360000" rIns="180000" bIns="360000">
            <a:noAutofit/>
          </a:bodyPr>
          <a:lstStyle>
            <a:lvl1pPr>
              <a:buClr>
                <a:schemeClr val="tx1"/>
              </a:buClr>
              <a:defRPr spc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pc="0">
                <a:solidFill>
                  <a:schemeClr val="tx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10"/>
              </a:buBlip>
              <a:defRPr spc="0">
                <a:solidFill>
                  <a:schemeClr val="tx1"/>
                </a:solidFill>
              </a:defRPr>
            </a:lvl3pPr>
            <a:lvl4pPr>
              <a:defRPr spc="0">
                <a:solidFill>
                  <a:schemeClr val="tx1"/>
                </a:solidFill>
              </a:defRPr>
            </a:lvl4pPr>
            <a:lvl5pPr>
              <a:defRPr spc="0">
                <a:solidFill>
                  <a:schemeClr val="tx1"/>
                </a:solidFill>
              </a:defRPr>
            </a:lvl5pPr>
            <a:lvl6pPr>
              <a:defRPr spc="0">
                <a:solidFill>
                  <a:schemeClr val="tx1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BA3D35E0-AEA6-4F9B-BC48-9FA4EB495B4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976618" y="1196975"/>
            <a:ext cx="2448618" cy="3582896"/>
          </a:xfrm>
          <a:custGeom>
            <a:avLst/>
            <a:gdLst>
              <a:gd name="connsiteX0" fmla="*/ 0 w 2448618"/>
              <a:gd name="connsiteY0" fmla="*/ 0 h 3582896"/>
              <a:gd name="connsiteX1" fmla="*/ 2448618 w 2448618"/>
              <a:gd name="connsiteY1" fmla="*/ 0 h 3582896"/>
              <a:gd name="connsiteX2" fmla="*/ 2448618 w 2448618"/>
              <a:gd name="connsiteY2" fmla="*/ 3347306 h 3582896"/>
              <a:gd name="connsiteX3" fmla="*/ 0 w 2448618"/>
              <a:gd name="connsiteY3" fmla="*/ 3582896 h 3582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18" h="3582896">
                <a:moveTo>
                  <a:pt x="0" y="0"/>
                </a:moveTo>
                <a:lnTo>
                  <a:pt x="2448618" y="0"/>
                </a:lnTo>
                <a:lnTo>
                  <a:pt x="2448618" y="3347306"/>
                </a:lnTo>
                <a:lnTo>
                  <a:pt x="0" y="3582896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180000" tIns="360000" rIns="180000" bIns="360000">
            <a:noAutofit/>
          </a:bodyPr>
          <a:lstStyle>
            <a:lvl1pPr>
              <a:buClr>
                <a:schemeClr val="tx1"/>
              </a:buClr>
              <a:defRPr spc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pc="0">
                <a:solidFill>
                  <a:schemeClr val="tx1"/>
                </a:solidFill>
              </a:defRPr>
            </a:lvl2pPr>
            <a:lvl3pPr marL="360363" indent="-360363">
              <a:buClr>
                <a:schemeClr val="bg1"/>
              </a:buClr>
              <a:buFontTx/>
              <a:buBlip>
                <a:blip r:embed="rId10"/>
              </a:buBlip>
              <a:defRPr spc="0">
                <a:solidFill>
                  <a:schemeClr val="tx1"/>
                </a:solidFill>
              </a:defRPr>
            </a:lvl3pPr>
            <a:lvl4pPr>
              <a:defRPr spc="0">
                <a:solidFill>
                  <a:schemeClr val="tx1"/>
                </a:solidFill>
              </a:defRPr>
            </a:lvl4pPr>
            <a:lvl5pPr>
              <a:defRPr spc="0">
                <a:solidFill>
                  <a:schemeClr val="tx1"/>
                </a:solidFill>
              </a:defRPr>
            </a:lvl5pPr>
            <a:lvl6pPr>
              <a:defRPr spc="0">
                <a:solidFill>
                  <a:schemeClr val="tx1"/>
                </a:solidFill>
              </a:defRPr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665825-B006-4439-895F-85E2862B5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44584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26B43"/>
          </p15:clr>
        </p15:guide>
        <p15:guide id="2" pos="3931">
          <p15:clr>
            <a:srgbClr val="F26B43"/>
          </p15:clr>
        </p15:guide>
        <p15:guide id="3" orient="horz" pos="754">
          <p15:clr>
            <a:srgbClr val="A4A3A4"/>
          </p15:clr>
        </p15:guide>
        <p15:guide id="4" orient="horz" pos="640">
          <p15:clr>
            <a:srgbClr val="A4A3A4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 // Titel mit 4 Texten und Bilplatzhalter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1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de-DE" sz="1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625D8821-8842-4553-8668-637C54FDB7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03725" y="1016000"/>
            <a:ext cx="3384550" cy="4133637"/>
          </a:xfrm>
        </p:spPr>
        <p:txBody>
          <a:bodyPr/>
          <a:lstStyle>
            <a:lvl1pPr>
              <a:defRPr spc="0"/>
            </a:lvl1pPr>
            <a:lvl2pPr>
              <a:defRPr spc="0"/>
            </a:lvl2pPr>
            <a:lvl3pPr>
              <a:defRPr spc="0"/>
            </a:lvl3pPr>
            <a:lvl4pPr>
              <a:defRPr spc="0"/>
            </a:lvl4pPr>
            <a:lvl5pPr>
              <a:defRPr spc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Freihandform: Form 27">
            <a:extLst>
              <a:ext uri="{FF2B5EF4-FFF2-40B4-BE49-F238E27FC236}">
                <a16:creationId xmlns:a16="http://schemas.microsoft.com/office/drawing/2014/main" id="{1ED9DF6D-8878-44AC-A12C-893F4576467C}"/>
              </a:ext>
            </a:extLst>
          </p:cNvPr>
          <p:cNvSpPr/>
          <p:nvPr userDrawn="1"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21CE8BDA-8958-48E7-8115-79B458038B4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4D13CA-3680-4529-B6B5-9F0A749058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A88AD8-3CFE-481A-9582-168235F0B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CD9C935-DFD8-4C1F-A4AF-B70F53B25DFD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15" name="Freeform 40">
              <a:extLst>
                <a:ext uri="{FF2B5EF4-FFF2-40B4-BE49-F238E27FC236}">
                  <a16:creationId xmlns:a16="http://schemas.microsoft.com/office/drawing/2014/main" id="{589340FF-7D32-47A8-8449-1C2A489DA5B3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tx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6" name="Freeform 41">
              <a:extLst>
                <a:ext uri="{FF2B5EF4-FFF2-40B4-BE49-F238E27FC236}">
                  <a16:creationId xmlns:a16="http://schemas.microsoft.com/office/drawing/2014/main" id="{4F07A579-28CA-49F5-9EEC-EB5412BEBA56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226C4E4-A2B3-4F91-ACF4-1386A1141A75}"/>
              </a:ext>
            </a:extLst>
          </p:cNvPr>
          <p:cNvGrpSpPr/>
          <p:nvPr/>
        </p:nvGrpSpPr>
        <p:grpSpPr>
          <a:xfrm>
            <a:off x="0" y="1009784"/>
            <a:ext cx="4130243" cy="2397344"/>
            <a:chOff x="-1" y="825214"/>
            <a:chExt cx="3438312" cy="1995722"/>
          </a:xfrm>
          <a:solidFill>
            <a:schemeClr val="accent1"/>
          </a:solidFill>
        </p:grpSpPr>
        <p:sp>
          <p:nvSpPr>
            <p:cNvPr id="20" name="Freeform 1">
              <a:extLst>
                <a:ext uri="{FF2B5EF4-FFF2-40B4-BE49-F238E27FC236}">
                  <a16:creationId xmlns:a16="http://schemas.microsoft.com/office/drawing/2014/main" id="{85B15F81-C7C5-4BF1-8B09-16557ED89E46}"/>
                </a:ext>
              </a:extLst>
            </p:cNvPr>
            <p:cNvSpPr/>
            <p:nvPr/>
          </p:nvSpPr>
          <p:spPr>
            <a:xfrm rot="10800000">
              <a:off x="-1" y="825214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B52C9D7B-3DEC-4F20-A960-0AB2B7912A0C}"/>
                </a:ext>
              </a:extLst>
            </p:cNvPr>
            <p:cNvSpPr/>
            <p:nvPr/>
          </p:nvSpPr>
          <p:spPr>
            <a:xfrm rot="10800000">
              <a:off x="-1" y="969511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9A017E0-97E1-40BF-A118-EF8F27D51FAB}"/>
              </a:ext>
            </a:extLst>
          </p:cNvPr>
          <p:cNvGrpSpPr/>
          <p:nvPr/>
        </p:nvGrpSpPr>
        <p:grpSpPr>
          <a:xfrm>
            <a:off x="0" y="3281931"/>
            <a:ext cx="4130243" cy="2397344"/>
            <a:chOff x="-1" y="825214"/>
            <a:chExt cx="3438312" cy="1995722"/>
          </a:xfrm>
          <a:solidFill>
            <a:schemeClr val="accent1"/>
          </a:solidFill>
        </p:grpSpPr>
        <p:sp>
          <p:nvSpPr>
            <p:cNvPr id="29" name="Freeform 24">
              <a:extLst>
                <a:ext uri="{FF2B5EF4-FFF2-40B4-BE49-F238E27FC236}">
                  <a16:creationId xmlns:a16="http://schemas.microsoft.com/office/drawing/2014/main" id="{42A5AD33-28B5-4788-AB7B-7039FE3889C2}"/>
                </a:ext>
              </a:extLst>
            </p:cNvPr>
            <p:cNvSpPr/>
            <p:nvPr/>
          </p:nvSpPr>
          <p:spPr>
            <a:xfrm rot="10800000">
              <a:off x="-1" y="825214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30" name="Freeform 25">
              <a:extLst>
                <a:ext uri="{FF2B5EF4-FFF2-40B4-BE49-F238E27FC236}">
                  <a16:creationId xmlns:a16="http://schemas.microsoft.com/office/drawing/2014/main" id="{B2621DED-4F6C-4FC0-80E4-5B670F3B1177}"/>
                </a:ext>
              </a:extLst>
            </p:cNvPr>
            <p:cNvSpPr/>
            <p:nvPr/>
          </p:nvSpPr>
          <p:spPr>
            <a:xfrm rot="10800000">
              <a:off x="-1" y="969511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2EEF72E3-984A-4E1D-B3E5-A8C8F728969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89468" y="1016000"/>
            <a:ext cx="3335770" cy="3655357"/>
          </a:xfrm>
        </p:spPr>
        <p:txBody>
          <a:bodyPr/>
          <a:lstStyle>
            <a:lvl1pPr>
              <a:defRPr spc="0"/>
            </a:lvl1pPr>
            <a:lvl2pPr>
              <a:defRPr spc="0"/>
            </a:lvl2pPr>
            <a:lvl3pPr>
              <a:defRPr spc="0"/>
            </a:lvl3pPr>
            <a:lvl4pPr>
              <a:defRPr spc="0"/>
            </a:lvl4pPr>
            <a:lvl5pPr>
              <a:defRPr spc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175DEA8E-1BB4-4543-A778-82112E437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2768" y="1481408"/>
            <a:ext cx="3289360" cy="1671470"/>
          </a:xfrm>
        </p:spPr>
        <p:txBody>
          <a:bodyPr anchor="ctr">
            <a:noAutofit/>
          </a:bodyPr>
          <a:lstStyle>
            <a:lvl1pPr marL="0" indent="0">
              <a:buNone/>
              <a:defRPr sz="1200" spc="0">
                <a:solidFill>
                  <a:schemeClr val="bg1"/>
                </a:solidFill>
              </a:defRPr>
            </a:lvl1pPr>
            <a:lvl2pPr marL="358775" indent="0">
              <a:buNone/>
              <a:defRPr sz="1200"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8" name="Text Placeholder 34">
            <a:extLst>
              <a:ext uri="{FF2B5EF4-FFF2-40B4-BE49-F238E27FC236}">
                <a16:creationId xmlns:a16="http://schemas.microsoft.com/office/drawing/2014/main" id="{E6C97D9E-74F8-4B39-BB82-1BCFEB4908C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2768" y="3760730"/>
            <a:ext cx="3289360" cy="1671470"/>
          </a:xfrm>
        </p:spPr>
        <p:txBody>
          <a:bodyPr anchor="ctr">
            <a:noAutofit/>
          </a:bodyPr>
          <a:lstStyle>
            <a:lvl1pPr marL="0" indent="0">
              <a:buNone/>
              <a:defRPr sz="1200" spc="0">
                <a:solidFill>
                  <a:schemeClr val="bg1"/>
                </a:solidFill>
              </a:defRPr>
            </a:lvl1pPr>
            <a:lvl2pPr marL="358775" indent="0">
              <a:buNone/>
              <a:defRPr sz="1200"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9" name="Text Placeholder 61">
            <a:extLst>
              <a:ext uri="{FF2B5EF4-FFF2-40B4-BE49-F238E27FC236}">
                <a16:creationId xmlns:a16="http://schemas.microsoft.com/office/drawing/2014/main" id="{7E867A1C-F2D3-4594-962F-3D4EDD6E5E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64262" y="2738352"/>
            <a:ext cx="1105200" cy="1105200"/>
          </a:xfrm>
          <a:prstGeom prst="ellipse">
            <a:avLst/>
          </a:prstGeom>
          <a:solidFill>
            <a:srgbClr val="FFC000"/>
          </a:solidFill>
        </p:spPr>
        <p:txBody>
          <a:bodyPr lIns="36000" tIns="36000" rIns="36000" bIns="36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441014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26B43"/>
          </p15:clr>
        </p15:guide>
        <p15:guide id="2" orient="horz" pos="731">
          <p15:clr>
            <a:srgbClr val="FFFFFF"/>
          </p15:clr>
        </p15:guide>
        <p15:guide id="3" orient="horz" pos="210">
          <p15:clr>
            <a:srgbClr val="A4A3A4"/>
          </p15:clr>
        </p15:guide>
        <p15:guide id="4" pos="2774">
          <p15:clr>
            <a:srgbClr val="F26B43"/>
          </p15:clr>
        </p15:guide>
        <p15:guide id="5" pos="2389">
          <p15:clr>
            <a:srgbClr val="F26B43"/>
          </p15:clr>
        </p15:guide>
        <p15:guide id="6" pos="279">
          <p15:clr>
            <a:srgbClr val="F26B43"/>
          </p15:clr>
        </p15:guide>
        <p15:guide id="7" pos="4906">
          <p15:clr>
            <a:srgbClr val="F26B43"/>
          </p15:clr>
        </p15:guide>
        <p15:guide id="8" pos="5087">
          <p15:clr>
            <a:srgbClr val="F26B43"/>
          </p15:clr>
        </p15:guide>
        <p15:guide id="9" orient="horz" pos="1185">
          <p15:clr>
            <a:srgbClr val="F26B43"/>
          </p15:clr>
        </p15:guide>
        <p15:guide id="10" pos="483">
          <p15:clr>
            <a:srgbClr val="A4A3A4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WARZ // Titel mit 4 Texten und Bilplatzhalter (unten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3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de-DE" sz="1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825F47CB-5D49-4D48-90E7-17EFE25C6DD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4745837"/>
            <a:ext cx="12192000" cy="2112164"/>
          </a:xfrm>
          <a:custGeom>
            <a:avLst/>
            <a:gdLst>
              <a:gd name="connsiteX0" fmla="*/ 12192000 w 12192000"/>
              <a:gd name="connsiteY0" fmla="*/ 412 h 2112164"/>
              <a:gd name="connsiteX1" fmla="*/ 12192000 w 12192000"/>
              <a:gd name="connsiteY1" fmla="*/ 2112164 h 2112164"/>
              <a:gd name="connsiteX2" fmla="*/ 0 w 12192000"/>
              <a:gd name="connsiteY2" fmla="*/ 2112164 h 2112164"/>
              <a:gd name="connsiteX3" fmla="*/ 0 w 12192000"/>
              <a:gd name="connsiteY3" fmla="*/ 1227431 h 2112164"/>
              <a:gd name="connsiteX4" fmla="*/ 12091186 w 12192000"/>
              <a:gd name="connsiteY4" fmla="*/ 10149 h 2112164"/>
              <a:gd name="connsiteX5" fmla="*/ 12192000 w 12192000"/>
              <a:gd name="connsiteY5" fmla="*/ 0 h 2112164"/>
              <a:gd name="connsiteX6" fmla="*/ 12192000 w 12192000"/>
              <a:gd name="connsiteY6" fmla="*/ 412 h 2112164"/>
              <a:gd name="connsiteX7" fmla="*/ 12187901 w 12192000"/>
              <a:gd name="connsiteY7" fmla="*/ 412 h 211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12164">
                <a:moveTo>
                  <a:pt x="12192000" y="412"/>
                </a:moveTo>
                <a:lnTo>
                  <a:pt x="12192000" y="2112164"/>
                </a:lnTo>
                <a:lnTo>
                  <a:pt x="0" y="2112164"/>
                </a:lnTo>
                <a:lnTo>
                  <a:pt x="0" y="1227431"/>
                </a:lnTo>
                <a:lnTo>
                  <a:pt x="12091186" y="10149"/>
                </a:lnTo>
                <a:close/>
                <a:moveTo>
                  <a:pt x="12192000" y="0"/>
                </a:moveTo>
                <a:lnTo>
                  <a:pt x="12192000" y="412"/>
                </a:lnTo>
                <a:lnTo>
                  <a:pt x="12187901" y="41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625D8821-8842-4553-8668-637C54FDB7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03725" y="1038360"/>
            <a:ext cx="3384550" cy="4139853"/>
          </a:xfrm>
        </p:spPr>
        <p:txBody>
          <a:bodyPr/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Freihandform: Form 27">
            <a:extLst>
              <a:ext uri="{FF2B5EF4-FFF2-40B4-BE49-F238E27FC236}">
                <a16:creationId xmlns:a16="http://schemas.microsoft.com/office/drawing/2014/main" id="{1ED9DF6D-8878-44AC-A12C-893F4576467C}"/>
              </a:ext>
            </a:extLst>
          </p:cNvPr>
          <p:cNvSpPr/>
          <p:nvPr userDrawn="1"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4D13CA-3680-4529-B6B5-9F0A749058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A88AD8-3CFE-481A-9582-168235F0B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CD9C935-DFD8-4C1F-A4AF-B70F53B25DFD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15" name="Freeform 40">
              <a:extLst>
                <a:ext uri="{FF2B5EF4-FFF2-40B4-BE49-F238E27FC236}">
                  <a16:creationId xmlns:a16="http://schemas.microsoft.com/office/drawing/2014/main" id="{589340FF-7D32-47A8-8449-1C2A489DA5B3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tx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6" name="Freeform 41">
              <a:extLst>
                <a:ext uri="{FF2B5EF4-FFF2-40B4-BE49-F238E27FC236}">
                  <a16:creationId xmlns:a16="http://schemas.microsoft.com/office/drawing/2014/main" id="{4F07A579-28CA-49F5-9EEC-EB5412BEBA56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226C4E4-A2B3-4F91-ACF4-1386A1141A75}"/>
              </a:ext>
            </a:extLst>
          </p:cNvPr>
          <p:cNvGrpSpPr/>
          <p:nvPr/>
        </p:nvGrpSpPr>
        <p:grpSpPr>
          <a:xfrm>
            <a:off x="0" y="1009784"/>
            <a:ext cx="4130243" cy="2397344"/>
            <a:chOff x="-1" y="825214"/>
            <a:chExt cx="3438312" cy="1995722"/>
          </a:xfrm>
          <a:solidFill>
            <a:schemeClr val="accent1"/>
          </a:solidFill>
        </p:grpSpPr>
        <p:sp>
          <p:nvSpPr>
            <p:cNvPr id="20" name="Freeform 1">
              <a:extLst>
                <a:ext uri="{FF2B5EF4-FFF2-40B4-BE49-F238E27FC236}">
                  <a16:creationId xmlns:a16="http://schemas.microsoft.com/office/drawing/2014/main" id="{85B15F81-C7C5-4BF1-8B09-16557ED89E46}"/>
                </a:ext>
              </a:extLst>
            </p:cNvPr>
            <p:cNvSpPr/>
            <p:nvPr/>
          </p:nvSpPr>
          <p:spPr>
            <a:xfrm rot="10800000">
              <a:off x="-1" y="825214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B52C9D7B-3DEC-4F20-A960-0AB2B7912A0C}"/>
                </a:ext>
              </a:extLst>
            </p:cNvPr>
            <p:cNvSpPr/>
            <p:nvPr/>
          </p:nvSpPr>
          <p:spPr>
            <a:xfrm rot="10800000">
              <a:off x="-1" y="969511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9A017E0-97E1-40BF-A118-EF8F27D51FAB}"/>
              </a:ext>
            </a:extLst>
          </p:cNvPr>
          <p:cNvGrpSpPr/>
          <p:nvPr/>
        </p:nvGrpSpPr>
        <p:grpSpPr>
          <a:xfrm>
            <a:off x="0" y="3281931"/>
            <a:ext cx="4130243" cy="2397344"/>
            <a:chOff x="-1" y="825214"/>
            <a:chExt cx="3438312" cy="1995722"/>
          </a:xfrm>
          <a:solidFill>
            <a:schemeClr val="accent1"/>
          </a:solidFill>
        </p:grpSpPr>
        <p:sp>
          <p:nvSpPr>
            <p:cNvPr id="29" name="Freeform 24">
              <a:extLst>
                <a:ext uri="{FF2B5EF4-FFF2-40B4-BE49-F238E27FC236}">
                  <a16:creationId xmlns:a16="http://schemas.microsoft.com/office/drawing/2014/main" id="{42A5AD33-28B5-4788-AB7B-7039FE3889C2}"/>
                </a:ext>
              </a:extLst>
            </p:cNvPr>
            <p:cNvSpPr/>
            <p:nvPr/>
          </p:nvSpPr>
          <p:spPr>
            <a:xfrm rot="10800000">
              <a:off x="-1" y="825214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30" name="Freeform 25">
              <a:extLst>
                <a:ext uri="{FF2B5EF4-FFF2-40B4-BE49-F238E27FC236}">
                  <a16:creationId xmlns:a16="http://schemas.microsoft.com/office/drawing/2014/main" id="{B2621DED-4F6C-4FC0-80E4-5B670F3B1177}"/>
                </a:ext>
              </a:extLst>
            </p:cNvPr>
            <p:cNvSpPr/>
            <p:nvPr/>
          </p:nvSpPr>
          <p:spPr>
            <a:xfrm rot="10800000">
              <a:off x="-1" y="969511"/>
              <a:ext cx="3438312" cy="1851425"/>
            </a:xfrm>
            <a:custGeom>
              <a:avLst/>
              <a:gdLst>
                <a:gd name="connsiteX0" fmla="*/ 0 w 3280149"/>
                <a:gd name="connsiteY0" fmla="*/ 2732734 h 2732734"/>
                <a:gd name="connsiteX1" fmla="*/ 0 w 3280149"/>
                <a:gd name="connsiteY1" fmla="*/ 2318934 h 2732734"/>
                <a:gd name="connsiteX2" fmla="*/ 0 w 3280149"/>
                <a:gd name="connsiteY2" fmla="*/ 1058503 h 2732734"/>
                <a:gd name="connsiteX3" fmla="*/ 0 w 3280149"/>
                <a:gd name="connsiteY3" fmla="*/ 786521 h 2732734"/>
                <a:gd name="connsiteX4" fmla="*/ 0 w 3280149"/>
                <a:gd name="connsiteY4" fmla="*/ 582777 h 2732734"/>
                <a:gd name="connsiteX5" fmla="*/ 0 w 3280149"/>
                <a:gd name="connsiteY5" fmla="*/ 510927 h 2732734"/>
                <a:gd name="connsiteX6" fmla="*/ 3280149 w 3280149"/>
                <a:gd name="connsiteY6" fmla="*/ 0 h 2732734"/>
                <a:gd name="connsiteX7" fmla="*/ 3280149 w 3280149"/>
                <a:gd name="connsiteY7" fmla="*/ 2221807 h 2732734"/>
                <a:gd name="connsiteX8" fmla="*/ 0 w 3280149"/>
                <a:gd name="connsiteY8" fmla="*/ 2732734 h 273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0149" h="2732734">
                  <a:moveTo>
                    <a:pt x="0" y="2732734"/>
                  </a:moveTo>
                  <a:lnTo>
                    <a:pt x="0" y="2318934"/>
                  </a:lnTo>
                  <a:lnTo>
                    <a:pt x="0" y="1058503"/>
                  </a:lnTo>
                  <a:lnTo>
                    <a:pt x="0" y="786521"/>
                  </a:lnTo>
                  <a:lnTo>
                    <a:pt x="0" y="582777"/>
                  </a:lnTo>
                  <a:lnTo>
                    <a:pt x="0" y="510927"/>
                  </a:lnTo>
                  <a:lnTo>
                    <a:pt x="3280149" y="0"/>
                  </a:lnTo>
                  <a:lnTo>
                    <a:pt x="3280149" y="2221807"/>
                  </a:lnTo>
                  <a:lnTo>
                    <a:pt x="0" y="273273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2EEF72E3-984A-4E1D-B3E5-A8C8F728969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89468" y="1038360"/>
            <a:ext cx="3335770" cy="3660853"/>
          </a:xfrm>
        </p:spPr>
        <p:txBody>
          <a:bodyPr/>
          <a:lstStyle>
            <a:lvl1pPr>
              <a:defRPr spc="0">
                <a:solidFill>
                  <a:schemeClr val="bg1"/>
                </a:solidFill>
              </a:defRPr>
            </a:lvl1pPr>
            <a:lvl2pPr>
              <a:defRPr spc="0">
                <a:solidFill>
                  <a:schemeClr val="bg1"/>
                </a:solidFill>
              </a:defRPr>
            </a:lvl2pPr>
            <a:lvl3pPr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175DEA8E-1BB4-4543-A778-82112E437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2768" y="1481408"/>
            <a:ext cx="3289360" cy="1671470"/>
          </a:xfrm>
        </p:spPr>
        <p:txBody>
          <a:bodyPr anchor="ctr">
            <a:noAutofit/>
          </a:bodyPr>
          <a:lstStyle>
            <a:lvl1pPr marL="0" indent="0">
              <a:buNone/>
              <a:defRPr sz="1200" spc="0">
                <a:solidFill>
                  <a:schemeClr val="bg1"/>
                </a:solidFill>
              </a:defRPr>
            </a:lvl1pPr>
            <a:lvl2pPr marL="358775" indent="0">
              <a:buNone/>
              <a:defRPr sz="1200"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8" name="Text Placeholder 34">
            <a:extLst>
              <a:ext uri="{FF2B5EF4-FFF2-40B4-BE49-F238E27FC236}">
                <a16:creationId xmlns:a16="http://schemas.microsoft.com/office/drawing/2014/main" id="{E6C97D9E-74F8-4B39-BB82-1BCFEB4908C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2768" y="3760730"/>
            <a:ext cx="3289360" cy="1671470"/>
          </a:xfrm>
        </p:spPr>
        <p:txBody>
          <a:bodyPr anchor="ctr">
            <a:noAutofit/>
          </a:bodyPr>
          <a:lstStyle>
            <a:lvl1pPr marL="0" indent="0">
              <a:buNone/>
              <a:defRPr sz="1200" spc="0">
                <a:solidFill>
                  <a:schemeClr val="bg1"/>
                </a:solidFill>
              </a:defRPr>
            </a:lvl1pPr>
            <a:lvl2pPr marL="358775" indent="0">
              <a:buNone/>
              <a:defRPr sz="1200"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9" name="Text Placeholder 61">
            <a:extLst>
              <a:ext uri="{FF2B5EF4-FFF2-40B4-BE49-F238E27FC236}">
                <a16:creationId xmlns:a16="http://schemas.microsoft.com/office/drawing/2014/main" id="{7E867A1C-F2D3-4594-962F-3D4EDD6E5E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64262" y="2738352"/>
            <a:ext cx="1105200" cy="1105200"/>
          </a:xfrm>
          <a:prstGeom prst="ellipse">
            <a:avLst/>
          </a:prstGeom>
          <a:solidFill>
            <a:srgbClr val="FFC000"/>
          </a:solidFill>
        </p:spPr>
        <p:txBody>
          <a:bodyPr lIns="36000" tIns="36000" rIns="36000" bIns="36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25" name="Freihandform: Form 27">
            <a:extLst>
              <a:ext uri="{FF2B5EF4-FFF2-40B4-BE49-F238E27FC236}">
                <a16:creationId xmlns:a16="http://schemas.microsoft.com/office/drawing/2014/main" id="{33F3E23B-8741-48BD-93C7-936EFB1280EA}"/>
              </a:ext>
            </a:extLst>
          </p:cNvPr>
          <p:cNvSpPr/>
          <p:nvPr userDrawn="1"/>
        </p:nvSpPr>
        <p:spPr>
          <a:xfrm rot="10800000">
            <a:off x="-2" y="0"/>
            <a:ext cx="3976603" cy="400345"/>
          </a:xfrm>
          <a:custGeom>
            <a:avLst/>
            <a:gdLst>
              <a:gd name="connsiteX0" fmla="*/ 3976603 w 3976603"/>
              <a:gd name="connsiteY0" fmla="*/ 400345 h 400345"/>
              <a:gd name="connsiteX1" fmla="*/ 0 w 3976603"/>
              <a:gd name="connsiteY1" fmla="*/ 400345 h 400345"/>
              <a:gd name="connsiteX2" fmla="*/ 3976603 w 3976603"/>
              <a:gd name="connsiteY2" fmla="*/ 0 h 400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976603" h="400345">
                <a:moveTo>
                  <a:pt x="3976603" y="400345"/>
                </a:moveTo>
                <a:lnTo>
                  <a:pt x="0" y="400345"/>
                </a:lnTo>
                <a:lnTo>
                  <a:pt x="3976603" y="0"/>
                </a:lnTo>
                <a:close/>
              </a:path>
            </a:pathLst>
          </a:custGeom>
          <a:solidFill>
            <a:schemeClr val="accent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66882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74">
          <p15:clr>
            <a:srgbClr val="F26B43"/>
          </p15:clr>
        </p15:guide>
        <p15:guide id="2" pos="4906">
          <p15:clr>
            <a:srgbClr val="F26B43"/>
          </p15:clr>
        </p15:guide>
        <p15:guide id="3" pos="5087">
          <p15:clr>
            <a:srgbClr val="F26B43"/>
          </p15:clr>
        </p15:guide>
        <p15:guide id="4" pos="2366">
          <p15:clr>
            <a:srgbClr val="F26B43"/>
          </p15:clr>
        </p15:guide>
        <p15:guide id="5" pos="279">
          <p15:clr>
            <a:srgbClr val="F26B43"/>
          </p15:clr>
        </p15:guide>
        <p15:guide id="6" pos="483">
          <p15:clr>
            <a:srgbClr val="A4A3A4"/>
          </p15:clr>
        </p15:guide>
        <p15:guide id="7" orient="horz" pos="754">
          <p15:clr>
            <a:srgbClr val="A4A3A4"/>
          </p15:clr>
        </p15:guide>
        <p15:guide id="8" orient="horz" pos="210">
          <p15:clr>
            <a:srgbClr val="A4A3A4"/>
          </p15:clr>
        </p15:guide>
        <p15:guide id="9" orient="horz" pos="1071">
          <p15:clr>
            <a:srgbClr val="F26B43"/>
          </p15:clr>
        </p15:guide>
        <p15:guide id="10" orient="horz" pos="1185">
          <p15:clr>
            <a:srgbClr val="F26B43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 // Titel mit Text und Bildplatzhalter (link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B210DD08-1A6C-D749-AE2F-8AD16051E71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297397"/>
            <a:ext cx="7788277" cy="5396530"/>
          </a:xfrm>
          <a:custGeom>
            <a:avLst/>
            <a:gdLst>
              <a:gd name="connsiteX0" fmla="*/ 7788277 w 7788277"/>
              <a:gd name="connsiteY0" fmla="*/ 0 h 5396530"/>
              <a:gd name="connsiteX1" fmla="*/ 7788277 w 7788277"/>
              <a:gd name="connsiteY1" fmla="*/ 35829 h 5396530"/>
              <a:gd name="connsiteX2" fmla="*/ 7788277 w 7788277"/>
              <a:gd name="connsiteY2" fmla="*/ 4609377 h 5396530"/>
              <a:gd name="connsiteX3" fmla="*/ 7788277 w 7788277"/>
              <a:gd name="connsiteY3" fmla="*/ 4645206 h 5396530"/>
              <a:gd name="connsiteX4" fmla="*/ 0 w 7788277"/>
              <a:gd name="connsiteY4" fmla="*/ 5396530 h 5396530"/>
              <a:gd name="connsiteX5" fmla="*/ 0 w 7788277"/>
              <a:gd name="connsiteY5" fmla="*/ 5360701 h 5396530"/>
              <a:gd name="connsiteX6" fmla="*/ 0 w 7788277"/>
              <a:gd name="connsiteY6" fmla="*/ 819915 h 5396530"/>
              <a:gd name="connsiteX7" fmla="*/ 0 w 7788277"/>
              <a:gd name="connsiteY7" fmla="*/ 784086 h 5396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88277" h="5396530">
                <a:moveTo>
                  <a:pt x="7788277" y="0"/>
                </a:moveTo>
                <a:lnTo>
                  <a:pt x="7788277" y="35829"/>
                </a:lnTo>
                <a:lnTo>
                  <a:pt x="7788277" y="4609377"/>
                </a:lnTo>
                <a:lnTo>
                  <a:pt x="7788277" y="4645206"/>
                </a:lnTo>
                <a:lnTo>
                  <a:pt x="0" y="5396530"/>
                </a:lnTo>
                <a:lnTo>
                  <a:pt x="0" y="5360701"/>
                </a:lnTo>
                <a:lnTo>
                  <a:pt x="0" y="819915"/>
                </a:lnTo>
                <a:lnTo>
                  <a:pt x="0" y="78408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5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de-DE" sz="1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6" name="Freeform 6">
            <a:extLst>
              <a:ext uri="{FF2B5EF4-FFF2-40B4-BE49-F238E27FC236}">
                <a16:creationId xmlns:a16="http://schemas.microsoft.com/office/drawing/2014/main" id="{67FF8414-8E5A-459A-9165-71FF071DA875}"/>
              </a:ext>
            </a:extLst>
          </p:cNvPr>
          <p:cNvSpPr/>
          <p:nvPr userDrawn="1"/>
        </p:nvSpPr>
        <p:spPr>
          <a:xfrm>
            <a:off x="-14320" y="4773329"/>
            <a:ext cx="12206319" cy="2084670"/>
          </a:xfrm>
          <a:custGeom>
            <a:avLst/>
            <a:gdLst>
              <a:gd name="connsiteX0" fmla="*/ 12206319 w 12206319"/>
              <a:gd name="connsiteY0" fmla="*/ 0 h 2084670"/>
              <a:gd name="connsiteX1" fmla="*/ 12206319 w 12206319"/>
              <a:gd name="connsiteY1" fmla="*/ 581488 h 2084670"/>
              <a:gd name="connsiteX2" fmla="*/ 12206319 w 12206319"/>
              <a:gd name="connsiteY2" fmla="*/ 1177527 h 2084670"/>
              <a:gd name="connsiteX3" fmla="*/ 12206319 w 12206319"/>
              <a:gd name="connsiteY3" fmla="*/ 2084670 h 2084670"/>
              <a:gd name="connsiteX4" fmla="*/ 0 w 12206319"/>
              <a:gd name="connsiteY4" fmla="*/ 2084670 h 2084670"/>
              <a:gd name="connsiteX5" fmla="*/ 0 w 12206319"/>
              <a:gd name="connsiteY5" fmla="*/ 1177527 h 20846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06319" h="2084670">
                <a:moveTo>
                  <a:pt x="12206319" y="0"/>
                </a:moveTo>
                <a:lnTo>
                  <a:pt x="12206319" y="581488"/>
                </a:lnTo>
                <a:lnTo>
                  <a:pt x="12206319" y="1177527"/>
                </a:lnTo>
                <a:lnTo>
                  <a:pt x="12206319" y="2084670"/>
                </a:lnTo>
                <a:lnTo>
                  <a:pt x="0" y="2084670"/>
                </a:lnTo>
                <a:lnTo>
                  <a:pt x="0" y="1177527"/>
                </a:lnTo>
                <a:close/>
              </a:path>
            </a:pathLst>
          </a:custGeom>
          <a:solidFill>
            <a:schemeClr val="accent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28" name="Freeform 75">
            <a:extLst>
              <a:ext uri="{FF2B5EF4-FFF2-40B4-BE49-F238E27FC236}">
                <a16:creationId xmlns:a16="http://schemas.microsoft.com/office/drawing/2014/main" id="{2CFF6931-BFFB-4A62-B2EA-3CB764125AD2}"/>
              </a:ext>
            </a:extLst>
          </p:cNvPr>
          <p:cNvSpPr/>
          <p:nvPr userDrawn="1"/>
        </p:nvSpPr>
        <p:spPr>
          <a:xfrm>
            <a:off x="8922326" y="5213506"/>
            <a:ext cx="2284395" cy="1894178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D9E003">
              <a:alpha val="2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rgbClr val="FFFFFF"/>
              </a:solidFill>
            </a:endParaRPr>
          </a:p>
        </p:txBody>
      </p:sp>
      <p:sp>
        <p:nvSpPr>
          <p:cNvPr id="8" name="Freihandform: Form 27">
            <a:extLst>
              <a:ext uri="{FF2B5EF4-FFF2-40B4-BE49-F238E27FC236}">
                <a16:creationId xmlns:a16="http://schemas.microsoft.com/office/drawing/2014/main" id="{1ED9DF6D-8878-44AC-A12C-893F4576467C}"/>
              </a:ext>
            </a:extLst>
          </p:cNvPr>
          <p:cNvSpPr/>
          <p:nvPr userDrawn="1"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4D13CA-3680-4529-B6B5-9F0A749058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A88AD8-3CFE-481A-9582-168235F0B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CD9C935-DFD8-4C1F-A4AF-B70F53B25DFD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15" name="Freeform 40">
              <a:extLst>
                <a:ext uri="{FF2B5EF4-FFF2-40B4-BE49-F238E27FC236}">
                  <a16:creationId xmlns:a16="http://schemas.microsoft.com/office/drawing/2014/main" id="{589340FF-7D32-47A8-8449-1C2A489DA5B3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tx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6" name="Freeform 41">
              <a:extLst>
                <a:ext uri="{FF2B5EF4-FFF2-40B4-BE49-F238E27FC236}">
                  <a16:creationId xmlns:a16="http://schemas.microsoft.com/office/drawing/2014/main" id="{4F07A579-28CA-49F5-9EEC-EB5412BEBA56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39" name="Text Placeholder 61">
            <a:extLst>
              <a:ext uri="{FF2B5EF4-FFF2-40B4-BE49-F238E27FC236}">
                <a16:creationId xmlns:a16="http://schemas.microsoft.com/office/drawing/2014/main" id="{7E867A1C-F2D3-4594-962F-3D4EDD6E5E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7083" y="4447708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29" name="Text Placeholder 34">
            <a:extLst>
              <a:ext uri="{FF2B5EF4-FFF2-40B4-BE49-F238E27FC236}">
                <a16:creationId xmlns:a16="http://schemas.microsoft.com/office/drawing/2014/main" id="{20E344C6-0D9D-48BE-A8DB-BA19B21C3A4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89468" y="1016000"/>
            <a:ext cx="3335770" cy="3757329"/>
          </a:xfrm>
        </p:spPr>
        <p:txBody>
          <a:bodyPr/>
          <a:lstStyle>
            <a:lvl1pPr marL="0" indent="0">
              <a:buNone/>
              <a:defRPr b="1" spc="0">
                <a:solidFill>
                  <a:schemeClr val="tx1"/>
                </a:solidFill>
              </a:defRPr>
            </a:lvl1pPr>
            <a:lvl2pPr marL="0" indent="0">
              <a:buNone/>
              <a:defRPr spc="0">
                <a:solidFill>
                  <a:schemeClr val="tx1"/>
                </a:solidFill>
              </a:defRPr>
            </a:lvl2pPr>
            <a:lvl3pPr>
              <a:buClr>
                <a:schemeClr val="tx2"/>
              </a:buClr>
              <a:buSzPct val="100000"/>
              <a:buFont typeface="Arial" panose="020B0604020202020204" pitchFamily="34" charset="0"/>
              <a:buChar char="&gt;"/>
              <a:defRPr spc="0">
                <a:solidFill>
                  <a:schemeClr val="tx1"/>
                </a:solidFill>
              </a:defRPr>
            </a:lvl3pPr>
            <a:lvl4pPr marL="715963" indent="-357188"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&gt;"/>
              <a:defRPr spc="0">
                <a:solidFill>
                  <a:schemeClr val="tx1"/>
                </a:solidFill>
              </a:defRPr>
            </a:lvl4pPr>
            <a:lvl5pPr marL="360363" indent="-360363">
              <a:buSzPct val="130000"/>
              <a:buFontTx/>
              <a:buBlip>
                <a:blip r:embed="rId7"/>
              </a:buBlip>
              <a:defRPr b="0" spc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795821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87">
          <p15:clr>
            <a:srgbClr val="F26B43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r Bilplatzhalt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8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de-DE" sz="1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2" name="Freihandform: Form 27">
            <a:extLst>
              <a:ext uri="{FF2B5EF4-FFF2-40B4-BE49-F238E27FC236}">
                <a16:creationId xmlns:a16="http://schemas.microsoft.com/office/drawing/2014/main" id="{95D94426-CD31-4CB6-9F92-417C86DD83E5}"/>
              </a:ext>
            </a:extLst>
          </p:cNvPr>
          <p:cNvSpPr/>
          <p:nvPr userDrawn="1"/>
        </p:nvSpPr>
        <p:spPr>
          <a:xfrm rot="10800000" flipH="1" flipV="1">
            <a:off x="1449685" y="5776515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756F5AB8-9436-4ACC-9DE2-DE3EA98CC9A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742305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223370 h 6858000"/>
              <a:gd name="connsiteX3" fmla="*/ 5621103 w 12192000"/>
              <a:gd name="connsiteY3" fmla="*/ 6858000 h 6858000"/>
              <a:gd name="connsiteX4" fmla="*/ 0 w 12192000"/>
              <a:gd name="connsiteY4" fmla="*/ 6858000 h 6858000"/>
              <a:gd name="connsiteX5" fmla="*/ 0 w 12192000"/>
              <a:gd name="connsiteY5" fmla="*/ 108148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0742305" y="0"/>
                </a:moveTo>
                <a:lnTo>
                  <a:pt x="12192000" y="0"/>
                </a:lnTo>
                <a:lnTo>
                  <a:pt x="12192000" y="6223370"/>
                </a:lnTo>
                <a:lnTo>
                  <a:pt x="5621103" y="6858000"/>
                </a:lnTo>
                <a:lnTo>
                  <a:pt x="0" y="6858000"/>
                </a:lnTo>
                <a:lnTo>
                  <a:pt x="0" y="1081483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8" name="Freihandform: Form 27">
            <a:extLst>
              <a:ext uri="{FF2B5EF4-FFF2-40B4-BE49-F238E27FC236}">
                <a16:creationId xmlns:a16="http://schemas.microsoft.com/office/drawing/2014/main" id="{1ED9DF6D-8878-44AC-A12C-893F4576467C}"/>
              </a:ext>
            </a:extLst>
          </p:cNvPr>
          <p:cNvSpPr/>
          <p:nvPr userDrawn="1"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CD9C935-DFD8-4C1F-A4AF-B70F53B25DFD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15" name="Freeform 40">
              <a:extLst>
                <a:ext uri="{FF2B5EF4-FFF2-40B4-BE49-F238E27FC236}">
                  <a16:creationId xmlns:a16="http://schemas.microsoft.com/office/drawing/2014/main" id="{589340FF-7D32-47A8-8449-1C2A489DA5B3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tx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6" name="Freeform 41">
              <a:extLst>
                <a:ext uri="{FF2B5EF4-FFF2-40B4-BE49-F238E27FC236}">
                  <a16:creationId xmlns:a16="http://schemas.microsoft.com/office/drawing/2014/main" id="{4F07A579-28CA-49F5-9EEC-EB5412BEBA56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E23AD241-DF8E-4051-8B5A-E0AA069385E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2331641"/>
            <a:ext cx="5127438" cy="4526359"/>
          </a:xfrm>
          <a:custGeom>
            <a:avLst/>
            <a:gdLst>
              <a:gd name="connsiteX0" fmla="*/ 5100034 w 5127438"/>
              <a:gd name="connsiteY0" fmla="*/ 0 h 4526359"/>
              <a:gd name="connsiteX1" fmla="*/ 5127438 w 5127438"/>
              <a:gd name="connsiteY1" fmla="*/ 0 h 4526359"/>
              <a:gd name="connsiteX2" fmla="*/ 5127438 w 5127438"/>
              <a:gd name="connsiteY2" fmla="*/ 4211781 h 4526359"/>
              <a:gd name="connsiteX3" fmla="*/ 2002757 w 5127438"/>
              <a:gd name="connsiteY3" fmla="*/ 4526359 h 4526359"/>
              <a:gd name="connsiteX4" fmla="*/ 0 w 5127438"/>
              <a:gd name="connsiteY4" fmla="*/ 4526359 h 4526359"/>
              <a:gd name="connsiteX5" fmla="*/ 0 w 5127438"/>
              <a:gd name="connsiteY5" fmla="*/ 513447 h 4526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27438" h="4526359">
                <a:moveTo>
                  <a:pt x="5100034" y="0"/>
                </a:moveTo>
                <a:lnTo>
                  <a:pt x="5127438" y="0"/>
                </a:lnTo>
                <a:lnTo>
                  <a:pt x="5127438" y="4211781"/>
                </a:lnTo>
                <a:lnTo>
                  <a:pt x="2002757" y="4526359"/>
                </a:lnTo>
                <a:lnTo>
                  <a:pt x="0" y="4526359"/>
                </a:lnTo>
                <a:lnTo>
                  <a:pt x="0" y="513447"/>
                </a:lnTo>
                <a:close/>
              </a:path>
            </a:pathLst>
          </a:custGeom>
          <a:solidFill>
            <a:schemeClr val="tx2">
              <a:alpha val="74000"/>
            </a:schemeClr>
          </a:solidFill>
        </p:spPr>
        <p:txBody>
          <a:bodyPr wrap="square" lIns="1008000" tIns="864000" rIns="1008000">
            <a:noAutofit/>
          </a:bodyPr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FontTx/>
              <a:buBlip>
                <a:blip r:embed="rId7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4D13CA-3680-4529-B6B5-9F0A749058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A88AD8-3CFE-481A-9582-168235F0B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06720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 // 2 Texte auf Bil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F0BFEF38-786D-4152-A749-2AFFD780C12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297398"/>
            <a:ext cx="7788277" cy="6216757"/>
          </a:xfrm>
          <a:custGeom>
            <a:avLst/>
            <a:gdLst>
              <a:gd name="connsiteX0" fmla="*/ 7788277 w 7788277"/>
              <a:gd name="connsiteY0" fmla="*/ 0 h 6216757"/>
              <a:gd name="connsiteX1" fmla="*/ 7788277 w 7788277"/>
              <a:gd name="connsiteY1" fmla="*/ 856056 h 6216757"/>
              <a:gd name="connsiteX2" fmla="*/ 7788277 w 7788277"/>
              <a:gd name="connsiteY2" fmla="*/ 979568 h 6216757"/>
              <a:gd name="connsiteX3" fmla="*/ 4116386 w 7788277"/>
              <a:gd name="connsiteY3" fmla="*/ 1349236 h 6216757"/>
              <a:gd name="connsiteX4" fmla="*/ 4116386 w 7788277"/>
              <a:gd name="connsiteY4" fmla="*/ 1364277 h 6216757"/>
              <a:gd name="connsiteX5" fmla="*/ 4116386 w 7788277"/>
              <a:gd name="connsiteY5" fmla="*/ 3014189 h 6216757"/>
              <a:gd name="connsiteX6" fmla="*/ 4116386 w 7788277"/>
              <a:gd name="connsiteY6" fmla="*/ 5819655 h 6216757"/>
              <a:gd name="connsiteX7" fmla="*/ 0 w 7788277"/>
              <a:gd name="connsiteY7" fmla="*/ 6216757 h 6216757"/>
              <a:gd name="connsiteX8" fmla="*/ 0 w 7788277"/>
              <a:gd name="connsiteY8" fmla="*/ 5360701 h 6216757"/>
              <a:gd name="connsiteX9" fmla="*/ 0 w 7788277"/>
              <a:gd name="connsiteY9" fmla="*/ 1640142 h 6216757"/>
              <a:gd name="connsiteX10" fmla="*/ 0 w 7788277"/>
              <a:gd name="connsiteY10" fmla="*/ 784086 h 6216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88277" h="6216757">
                <a:moveTo>
                  <a:pt x="7788277" y="0"/>
                </a:moveTo>
                <a:lnTo>
                  <a:pt x="7788277" y="856056"/>
                </a:lnTo>
                <a:lnTo>
                  <a:pt x="7788277" y="979568"/>
                </a:lnTo>
                <a:lnTo>
                  <a:pt x="4116386" y="1349236"/>
                </a:lnTo>
                <a:lnTo>
                  <a:pt x="4116386" y="1364277"/>
                </a:lnTo>
                <a:lnTo>
                  <a:pt x="4116386" y="3014189"/>
                </a:lnTo>
                <a:lnTo>
                  <a:pt x="4116386" y="5819655"/>
                </a:lnTo>
                <a:lnTo>
                  <a:pt x="0" y="6216757"/>
                </a:lnTo>
                <a:lnTo>
                  <a:pt x="0" y="5360701"/>
                </a:lnTo>
                <a:lnTo>
                  <a:pt x="0" y="1640142"/>
                </a:lnTo>
                <a:lnTo>
                  <a:pt x="0" y="78408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148BEEFE-4F0A-4044-96B5-A6ADD49FFDC3}"/>
              </a:ext>
            </a:extLst>
          </p:cNvPr>
          <p:cNvSpPr/>
          <p:nvPr userDrawn="1"/>
        </p:nvSpPr>
        <p:spPr>
          <a:xfrm rot="10800000">
            <a:off x="4116386" y="878210"/>
            <a:ext cx="7632701" cy="5912718"/>
          </a:xfrm>
          <a:custGeom>
            <a:avLst/>
            <a:gdLst>
              <a:gd name="connsiteX0" fmla="*/ 0 w 7632701"/>
              <a:gd name="connsiteY0" fmla="*/ 5912718 h 5912718"/>
              <a:gd name="connsiteX1" fmla="*/ 0 w 7632701"/>
              <a:gd name="connsiteY1" fmla="*/ 5897677 h 5912718"/>
              <a:gd name="connsiteX2" fmla="*/ 0 w 7632701"/>
              <a:gd name="connsiteY2" fmla="*/ 5837327 h 5912718"/>
              <a:gd name="connsiteX3" fmla="*/ 0 w 7632701"/>
              <a:gd name="connsiteY3" fmla="*/ 5774928 h 5912718"/>
              <a:gd name="connsiteX4" fmla="*/ 0 w 7632701"/>
              <a:gd name="connsiteY4" fmla="*/ 5759887 h 5912718"/>
              <a:gd name="connsiteX5" fmla="*/ 0 w 7632701"/>
              <a:gd name="connsiteY5" fmla="*/ 5699537 h 5912718"/>
              <a:gd name="connsiteX6" fmla="*/ 0 w 7632701"/>
              <a:gd name="connsiteY6" fmla="*/ 5697598 h 5912718"/>
              <a:gd name="connsiteX7" fmla="*/ 0 w 7632701"/>
              <a:gd name="connsiteY7" fmla="*/ 5589538 h 5912718"/>
              <a:gd name="connsiteX8" fmla="*/ 0 w 7632701"/>
              <a:gd name="connsiteY8" fmla="*/ 5559808 h 5912718"/>
              <a:gd name="connsiteX9" fmla="*/ 0 w 7632701"/>
              <a:gd name="connsiteY9" fmla="*/ 5530900 h 5912718"/>
              <a:gd name="connsiteX10" fmla="*/ 0 w 7632701"/>
              <a:gd name="connsiteY10" fmla="*/ 5451748 h 5912718"/>
              <a:gd name="connsiteX11" fmla="*/ 0 w 7632701"/>
              <a:gd name="connsiteY11" fmla="*/ 5422839 h 5912718"/>
              <a:gd name="connsiteX12" fmla="*/ 0 w 7632701"/>
              <a:gd name="connsiteY12" fmla="*/ 5393110 h 5912718"/>
              <a:gd name="connsiteX13" fmla="*/ 0 w 7632701"/>
              <a:gd name="connsiteY13" fmla="*/ 5285049 h 5912718"/>
              <a:gd name="connsiteX14" fmla="*/ 0 w 7632701"/>
              <a:gd name="connsiteY14" fmla="*/ 5275330 h 5912718"/>
              <a:gd name="connsiteX15" fmla="*/ 0 w 7632701"/>
              <a:gd name="connsiteY15" fmla="*/ 5137540 h 5912718"/>
              <a:gd name="connsiteX16" fmla="*/ 0 w 7632701"/>
              <a:gd name="connsiteY16" fmla="*/ 4247765 h 5912718"/>
              <a:gd name="connsiteX17" fmla="*/ 0 w 7632701"/>
              <a:gd name="connsiteY17" fmla="*/ 4109975 h 5912718"/>
              <a:gd name="connsiteX18" fmla="*/ 0 w 7632701"/>
              <a:gd name="connsiteY18" fmla="*/ 3625418 h 5912718"/>
              <a:gd name="connsiteX19" fmla="*/ 0 w 7632701"/>
              <a:gd name="connsiteY19" fmla="*/ 3487628 h 5912718"/>
              <a:gd name="connsiteX20" fmla="*/ 0 w 7632701"/>
              <a:gd name="connsiteY20" fmla="*/ 3379668 h 5912718"/>
              <a:gd name="connsiteX21" fmla="*/ 0 w 7632701"/>
              <a:gd name="connsiteY21" fmla="*/ 3241878 h 5912718"/>
              <a:gd name="connsiteX22" fmla="*/ 0 w 7632701"/>
              <a:gd name="connsiteY22" fmla="*/ 2970612 h 5912718"/>
              <a:gd name="connsiteX23" fmla="*/ 0 w 7632701"/>
              <a:gd name="connsiteY23" fmla="*/ 2832822 h 5912718"/>
              <a:gd name="connsiteX24" fmla="*/ 0 w 7632701"/>
              <a:gd name="connsiteY24" fmla="*/ 2664186 h 5912718"/>
              <a:gd name="connsiteX25" fmla="*/ 0 w 7632701"/>
              <a:gd name="connsiteY25" fmla="*/ 2556126 h 5912718"/>
              <a:gd name="connsiteX26" fmla="*/ 0 w 7632701"/>
              <a:gd name="connsiteY26" fmla="*/ 2526396 h 5912718"/>
              <a:gd name="connsiteX27" fmla="*/ 0 w 7632701"/>
              <a:gd name="connsiteY27" fmla="*/ 2418336 h 5912718"/>
              <a:gd name="connsiteX28" fmla="*/ 0 w 7632701"/>
              <a:gd name="connsiteY28" fmla="*/ 1729756 h 5912718"/>
              <a:gd name="connsiteX29" fmla="*/ 0 w 7632701"/>
              <a:gd name="connsiteY29" fmla="*/ 1591966 h 5912718"/>
              <a:gd name="connsiteX30" fmla="*/ 0 w 7632701"/>
              <a:gd name="connsiteY30" fmla="*/ 1320700 h 5912718"/>
              <a:gd name="connsiteX31" fmla="*/ 0 w 7632701"/>
              <a:gd name="connsiteY31" fmla="*/ 1182910 h 5912718"/>
              <a:gd name="connsiteX32" fmla="*/ 0 w 7632701"/>
              <a:gd name="connsiteY32" fmla="*/ 1014273 h 5912718"/>
              <a:gd name="connsiteX33" fmla="*/ 0 w 7632701"/>
              <a:gd name="connsiteY33" fmla="*/ 906214 h 5912718"/>
              <a:gd name="connsiteX34" fmla="*/ 0 w 7632701"/>
              <a:gd name="connsiteY34" fmla="*/ 876483 h 5912718"/>
              <a:gd name="connsiteX35" fmla="*/ 0 w 7632701"/>
              <a:gd name="connsiteY35" fmla="*/ 768424 h 5912718"/>
              <a:gd name="connsiteX36" fmla="*/ 7632701 w 7632701"/>
              <a:gd name="connsiteY36" fmla="*/ 0 h 5912718"/>
              <a:gd name="connsiteX37" fmla="*/ 7632701 w 7632701"/>
              <a:gd name="connsiteY37" fmla="*/ 137790 h 5912718"/>
              <a:gd name="connsiteX38" fmla="*/ 7632701 w 7632701"/>
              <a:gd name="connsiteY38" fmla="*/ 3341551 h 5912718"/>
              <a:gd name="connsiteX39" fmla="*/ 7632701 w 7632701"/>
              <a:gd name="connsiteY39" fmla="*/ 3479341 h 5912718"/>
              <a:gd name="connsiteX40" fmla="*/ 7632701 w 7632701"/>
              <a:gd name="connsiteY40" fmla="*/ 4991463 h 5912718"/>
              <a:gd name="connsiteX41" fmla="*/ 7632701 w 7632701"/>
              <a:gd name="connsiteY41" fmla="*/ 5006504 h 5912718"/>
              <a:gd name="connsiteX42" fmla="*/ 7632701 w 7632701"/>
              <a:gd name="connsiteY42" fmla="*/ 5129253 h 5912718"/>
              <a:gd name="connsiteX43" fmla="*/ 7632701 w 7632701"/>
              <a:gd name="connsiteY43" fmla="*/ 5144294 h 5912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7632701" h="5912718">
                <a:moveTo>
                  <a:pt x="0" y="5912718"/>
                </a:moveTo>
                <a:lnTo>
                  <a:pt x="0" y="5897677"/>
                </a:lnTo>
                <a:lnTo>
                  <a:pt x="0" y="5837327"/>
                </a:lnTo>
                <a:lnTo>
                  <a:pt x="0" y="5774928"/>
                </a:lnTo>
                <a:lnTo>
                  <a:pt x="0" y="5759887"/>
                </a:lnTo>
                <a:lnTo>
                  <a:pt x="0" y="5699537"/>
                </a:lnTo>
                <a:lnTo>
                  <a:pt x="0" y="5697598"/>
                </a:lnTo>
                <a:lnTo>
                  <a:pt x="0" y="5589538"/>
                </a:lnTo>
                <a:lnTo>
                  <a:pt x="0" y="5559808"/>
                </a:lnTo>
                <a:lnTo>
                  <a:pt x="0" y="5530900"/>
                </a:lnTo>
                <a:lnTo>
                  <a:pt x="0" y="5451748"/>
                </a:lnTo>
                <a:lnTo>
                  <a:pt x="0" y="5422839"/>
                </a:lnTo>
                <a:lnTo>
                  <a:pt x="0" y="5393110"/>
                </a:lnTo>
                <a:lnTo>
                  <a:pt x="0" y="5285049"/>
                </a:lnTo>
                <a:lnTo>
                  <a:pt x="0" y="5275330"/>
                </a:lnTo>
                <a:lnTo>
                  <a:pt x="0" y="5137540"/>
                </a:lnTo>
                <a:lnTo>
                  <a:pt x="0" y="4247765"/>
                </a:lnTo>
                <a:lnTo>
                  <a:pt x="0" y="4109975"/>
                </a:lnTo>
                <a:lnTo>
                  <a:pt x="0" y="3625418"/>
                </a:lnTo>
                <a:lnTo>
                  <a:pt x="0" y="3487628"/>
                </a:lnTo>
                <a:lnTo>
                  <a:pt x="0" y="3379668"/>
                </a:lnTo>
                <a:lnTo>
                  <a:pt x="0" y="3241878"/>
                </a:lnTo>
                <a:lnTo>
                  <a:pt x="0" y="2970612"/>
                </a:lnTo>
                <a:lnTo>
                  <a:pt x="0" y="2832822"/>
                </a:lnTo>
                <a:lnTo>
                  <a:pt x="0" y="2664186"/>
                </a:lnTo>
                <a:lnTo>
                  <a:pt x="0" y="2556126"/>
                </a:lnTo>
                <a:lnTo>
                  <a:pt x="0" y="2526396"/>
                </a:lnTo>
                <a:lnTo>
                  <a:pt x="0" y="2418336"/>
                </a:lnTo>
                <a:lnTo>
                  <a:pt x="0" y="1729756"/>
                </a:lnTo>
                <a:lnTo>
                  <a:pt x="0" y="1591966"/>
                </a:lnTo>
                <a:lnTo>
                  <a:pt x="0" y="1320700"/>
                </a:lnTo>
                <a:lnTo>
                  <a:pt x="0" y="1182910"/>
                </a:lnTo>
                <a:lnTo>
                  <a:pt x="0" y="1014273"/>
                </a:lnTo>
                <a:lnTo>
                  <a:pt x="0" y="906214"/>
                </a:lnTo>
                <a:lnTo>
                  <a:pt x="0" y="876483"/>
                </a:lnTo>
                <a:lnTo>
                  <a:pt x="0" y="768424"/>
                </a:lnTo>
                <a:lnTo>
                  <a:pt x="7632701" y="0"/>
                </a:lnTo>
                <a:lnTo>
                  <a:pt x="7632701" y="137790"/>
                </a:lnTo>
                <a:lnTo>
                  <a:pt x="7632701" y="3341551"/>
                </a:lnTo>
                <a:lnTo>
                  <a:pt x="7632701" y="3479341"/>
                </a:lnTo>
                <a:lnTo>
                  <a:pt x="7632701" y="4991463"/>
                </a:lnTo>
                <a:lnTo>
                  <a:pt x="7632701" y="5006504"/>
                </a:lnTo>
                <a:lnTo>
                  <a:pt x="7632701" y="5129253"/>
                </a:lnTo>
                <a:lnTo>
                  <a:pt x="7632701" y="5144294"/>
                </a:lnTo>
                <a:close/>
              </a:path>
            </a:pathLst>
          </a:custGeom>
          <a:solidFill>
            <a:schemeClr val="accent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0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de-DE" sz="1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8" name="Freihandform: Form 27">
            <a:extLst>
              <a:ext uri="{FF2B5EF4-FFF2-40B4-BE49-F238E27FC236}">
                <a16:creationId xmlns:a16="http://schemas.microsoft.com/office/drawing/2014/main" id="{1ED9DF6D-8878-44AC-A12C-893F4576467C}"/>
              </a:ext>
            </a:extLst>
          </p:cNvPr>
          <p:cNvSpPr/>
          <p:nvPr userDrawn="1"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CD9C935-DFD8-4C1F-A4AF-B70F53B25DFD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15" name="Freeform 40">
              <a:extLst>
                <a:ext uri="{FF2B5EF4-FFF2-40B4-BE49-F238E27FC236}">
                  <a16:creationId xmlns:a16="http://schemas.microsoft.com/office/drawing/2014/main" id="{589340FF-7D32-47A8-8449-1C2A489DA5B3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tx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6" name="Freeform 41">
              <a:extLst>
                <a:ext uri="{FF2B5EF4-FFF2-40B4-BE49-F238E27FC236}">
                  <a16:creationId xmlns:a16="http://schemas.microsoft.com/office/drawing/2014/main" id="{4F07A579-28CA-49F5-9EEC-EB5412BEBA56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rgbClr val="44A12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4D13CA-3680-4529-B6B5-9F0A749058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A88AD8-3CFE-481A-9582-168235F0B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</a:rPr>
              <a:t>Abteilung | Verfasser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2" name="Freihandform: Form 22">
            <a:extLst>
              <a:ext uri="{FF2B5EF4-FFF2-40B4-BE49-F238E27FC236}">
                <a16:creationId xmlns:a16="http://schemas.microsoft.com/office/drawing/2014/main" id="{A0D903E6-C44E-4A70-A6AE-FB7D4F2C04E9}"/>
              </a:ext>
            </a:extLst>
          </p:cNvPr>
          <p:cNvSpPr/>
          <p:nvPr userDrawn="1"/>
        </p:nvSpPr>
        <p:spPr>
          <a:xfrm>
            <a:off x="5613395" y="6223371"/>
            <a:ext cx="6578604" cy="634629"/>
          </a:xfrm>
          <a:custGeom>
            <a:avLst/>
            <a:gdLst>
              <a:gd name="connsiteX0" fmla="*/ 6578604 w 6578604"/>
              <a:gd name="connsiteY0" fmla="*/ 0 h 634629"/>
              <a:gd name="connsiteX1" fmla="*/ 6578604 w 6578604"/>
              <a:gd name="connsiteY1" fmla="*/ 581488 h 634629"/>
              <a:gd name="connsiteX2" fmla="*/ 6578604 w 6578604"/>
              <a:gd name="connsiteY2" fmla="*/ 634629 h 634629"/>
              <a:gd name="connsiteX3" fmla="*/ 0 w 6578604"/>
              <a:gd name="connsiteY3" fmla="*/ 634629 h 634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78604" h="634629">
                <a:moveTo>
                  <a:pt x="6578604" y="0"/>
                </a:moveTo>
                <a:lnTo>
                  <a:pt x="6578604" y="581488"/>
                </a:lnTo>
                <a:lnTo>
                  <a:pt x="6578604" y="634629"/>
                </a:lnTo>
                <a:lnTo>
                  <a:pt x="0" y="634629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30" name="Text Placeholder 61">
            <a:extLst>
              <a:ext uri="{FF2B5EF4-FFF2-40B4-BE49-F238E27FC236}">
                <a16:creationId xmlns:a16="http://schemas.microsoft.com/office/drawing/2014/main" id="{2D02F780-5912-428A-9BD7-0A3D8102FA5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78999" y="589506"/>
            <a:ext cx="1216800" cy="1216800"/>
          </a:xfrm>
          <a:prstGeom prst="ellipse">
            <a:avLst/>
          </a:prstGeom>
          <a:solidFill>
            <a:srgbClr val="FFC000"/>
          </a:solidFill>
        </p:spPr>
        <p:txBody>
          <a:bodyPr lIns="36000" tIns="36000" rIns="36000" bIns="36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31" name="Text Placeholder 34">
            <a:extLst>
              <a:ext uri="{FF2B5EF4-FFF2-40B4-BE49-F238E27FC236}">
                <a16:creationId xmlns:a16="http://schemas.microsoft.com/office/drawing/2014/main" id="{F68C68D2-6AA1-4354-AC6D-4CF0689386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03725" y="1897316"/>
            <a:ext cx="3384550" cy="3806797"/>
          </a:xfrm>
        </p:spPr>
        <p:txBody>
          <a:bodyPr/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FontTx/>
              <a:buBlip>
                <a:blip r:embed="rId7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2" name="Text Placeholder 34">
            <a:extLst>
              <a:ext uri="{FF2B5EF4-FFF2-40B4-BE49-F238E27FC236}">
                <a16:creationId xmlns:a16="http://schemas.microsoft.com/office/drawing/2014/main" id="{B2627D31-BA2B-49B5-A7EB-39B12E23280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89468" y="1897316"/>
            <a:ext cx="3335770" cy="3806797"/>
          </a:xfrm>
        </p:spPr>
        <p:txBody>
          <a:bodyPr/>
          <a:lstStyle>
            <a:lvl1pPr>
              <a:buClr>
                <a:schemeClr val="bg1"/>
              </a:buClr>
              <a:defRPr spc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pc="0">
                <a:solidFill>
                  <a:schemeClr val="bg1"/>
                </a:solidFill>
              </a:defRPr>
            </a:lvl2pPr>
            <a:lvl3pPr marL="360363" indent="-360363">
              <a:buFontTx/>
              <a:buBlip>
                <a:blip r:embed="rId7"/>
              </a:buBlip>
              <a:defRPr spc="0">
                <a:solidFill>
                  <a:schemeClr val="bg1"/>
                </a:solidFill>
              </a:defRPr>
            </a:lvl3pPr>
            <a:lvl4pPr>
              <a:defRPr spc="0">
                <a:solidFill>
                  <a:schemeClr val="bg1"/>
                </a:solidFill>
              </a:defRPr>
            </a:lvl4pPr>
            <a:lvl5pPr>
              <a:defRPr spc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29642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87">
          <p15:clr>
            <a:srgbClr val="F26B43"/>
          </p15:clr>
        </p15:guide>
        <p15:guide id="2" pos="4906">
          <p15:clr>
            <a:srgbClr val="F26B43"/>
          </p15:clr>
        </p15:guide>
        <p15:guide id="3" pos="2774">
          <p15:clr>
            <a:srgbClr val="F26B43"/>
          </p15:clr>
        </p15:guide>
        <p15:guide id="4" orient="horz" pos="1185">
          <p15:clr>
            <a:srgbClr val="F26B43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WARZ // 2 Texte auf Bilplatzhalt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3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de-DE" sz="1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F0BFEF38-786D-4152-A749-2AFFD780C12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297398"/>
            <a:ext cx="7788277" cy="6216757"/>
          </a:xfrm>
          <a:custGeom>
            <a:avLst/>
            <a:gdLst>
              <a:gd name="connsiteX0" fmla="*/ 7788277 w 7788277"/>
              <a:gd name="connsiteY0" fmla="*/ 0 h 6216757"/>
              <a:gd name="connsiteX1" fmla="*/ 7788277 w 7788277"/>
              <a:gd name="connsiteY1" fmla="*/ 856056 h 6216757"/>
              <a:gd name="connsiteX2" fmla="*/ 7788277 w 7788277"/>
              <a:gd name="connsiteY2" fmla="*/ 979568 h 6216757"/>
              <a:gd name="connsiteX3" fmla="*/ 4116386 w 7788277"/>
              <a:gd name="connsiteY3" fmla="*/ 1349236 h 6216757"/>
              <a:gd name="connsiteX4" fmla="*/ 4116386 w 7788277"/>
              <a:gd name="connsiteY4" fmla="*/ 1364277 h 6216757"/>
              <a:gd name="connsiteX5" fmla="*/ 4116386 w 7788277"/>
              <a:gd name="connsiteY5" fmla="*/ 3014189 h 6216757"/>
              <a:gd name="connsiteX6" fmla="*/ 4116386 w 7788277"/>
              <a:gd name="connsiteY6" fmla="*/ 5819655 h 6216757"/>
              <a:gd name="connsiteX7" fmla="*/ 0 w 7788277"/>
              <a:gd name="connsiteY7" fmla="*/ 6216757 h 6216757"/>
              <a:gd name="connsiteX8" fmla="*/ 0 w 7788277"/>
              <a:gd name="connsiteY8" fmla="*/ 5360701 h 6216757"/>
              <a:gd name="connsiteX9" fmla="*/ 0 w 7788277"/>
              <a:gd name="connsiteY9" fmla="*/ 1640142 h 6216757"/>
              <a:gd name="connsiteX10" fmla="*/ 0 w 7788277"/>
              <a:gd name="connsiteY10" fmla="*/ 784086 h 6216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88277" h="6216757">
                <a:moveTo>
                  <a:pt x="7788277" y="0"/>
                </a:moveTo>
                <a:lnTo>
                  <a:pt x="7788277" y="856056"/>
                </a:lnTo>
                <a:lnTo>
                  <a:pt x="7788277" y="979568"/>
                </a:lnTo>
                <a:lnTo>
                  <a:pt x="4116386" y="1349236"/>
                </a:lnTo>
                <a:lnTo>
                  <a:pt x="4116386" y="1364277"/>
                </a:lnTo>
                <a:lnTo>
                  <a:pt x="4116386" y="3014189"/>
                </a:lnTo>
                <a:lnTo>
                  <a:pt x="4116386" y="5819655"/>
                </a:lnTo>
                <a:lnTo>
                  <a:pt x="0" y="6216757"/>
                </a:lnTo>
                <a:lnTo>
                  <a:pt x="0" y="5360701"/>
                </a:lnTo>
                <a:lnTo>
                  <a:pt x="0" y="1640142"/>
                </a:lnTo>
                <a:lnTo>
                  <a:pt x="0" y="78408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8" name="Freihandform: Form 27">
            <a:extLst>
              <a:ext uri="{FF2B5EF4-FFF2-40B4-BE49-F238E27FC236}">
                <a16:creationId xmlns:a16="http://schemas.microsoft.com/office/drawing/2014/main" id="{1ED9DF6D-8878-44AC-A12C-893F4576467C}"/>
              </a:ext>
            </a:extLst>
          </p:cNvPr>
          <p:cNvSpPr/>
          <p:nvPr userDrawn="1"/>
        </p:nvSpPr>
        <p:spPr>
          <a:xfrm rot="10800000">
            <a:off x="-4" y="-1"/>
            <a:ext cx="10742315" cy="1081484"/>
          </a:xfrm>
          <a:custGeom>
            <a:avLst/>
            <a:gdLst>
              <a:gd name="connsiteX0" fmla="*/ 10742315 w 10742315"/>
              <a:gd name="connsiteY0" fmla="*/ 1081484 h 1081484"/>
              <a:gd name="connsiteX1" fmla="*/ 0 w 10742315"/>
              <a:gd name="connsiteY1" fmla="*/ 1081484 h 1081484"/>
              <a:gd name="connsiteX2" fmla="*/ 10742315 w 10742315"/>
              <a:gd name="connsiteY2" fmla="*/ 0 h 1081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2315" h="1081484">
                <a:moveTo>
                  <a:pt x="10742315" y="1081484"/>
                </a:moveTo>
                <a:lnTo>
                  <a:pt x="0" y="1081484"/>
                </a:lnTo>
                <a:lnTo>
                  <a:pt x="10742315" y="0"/>
                </a:lnTo>
                <a:close/>
              </a:path>
            </a:pathLst>
          </a:custGeom>
          <a:solidFill>
            <a:schemeClr val="accent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6" name="Freeform 41">
            <a:extLst>
              <a:ext uri="{FF2B5EF4-FFF2-40B4-BE49-F238E27FC236}">
                <a16:creationId xmlns:a16="http://schemas.microsoft.com/office/drawing/2014/main" id="{4F07A579-28CA-49F5-9EEC-EB5412BEBA56}"/>
              </a:ext>
            </a:extLst>
          </p:cNvPr>
          <p:cNvSpPr/>
          <p:nvPr/>
        </p:nvSpPr>
        <p:spPr>
          <a:xfrm>
            <a:off x="102758" y="518040"/>
            <a:ext cx="446364" cy="370116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4D13CA-3680-4529-B6B5-9F0A749058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A88AD8-3CFE-481A-9582-168235F0B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" name="Freihandform: Form 22">
            <a:extLst>
              <a:ext uri="{FF2B5EF4-FFF2-40B4-BE49-F238E27FC236}">
                <a16:creationId xmlns:a16="http://schemas.microsoft.com/office/drawing/2014/main" id="{A0D903E6-C44E-4A70-A6AE-FB7D4F2C04E9}"/>
              </a:ext>
            </a:extLst>
          </p:cNvPr>
          <p:cNvSpPr/>
          <p:nvPr userDrawn="1"/>
        </p:nvSpPr>
        <p:spPr>
          <a:xfrm>
            <a:off x="5613395" y="6223371"/>
            <a:ext cx="6578604" cy="634629"/>
          </a:xfrm>
          <a:custGeom>
            <a:avLst/>
            <a:gdLst>
              <a:gd name="connsiteX0" fmla="*/ 6578604 w 6578604"/>
              <a:gd name="connsiteY0" fmla="*/ 0 h 634629"/>
              <a:gd name="connsiteX1" fmla="*/ 6578604 w 6578604"/>
              <a:gd name="connsiteY1" fmla="*/ 581488 h 634629"/>
              <a:gd name="connsiteX2" fmla="*/ 6578604 w 6578604"/>
              <a:gd name="connsiteY2" fmla="*/ 634629 h 634629"/>
              <a:gd name="connsiteX3" fmla="*/ 0 w 6578604"/>
              <a:gd name="connsiteY3" fmla="*/ 634629 h 634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78604" h="634629">
                <a:moveTo>
                  <a:pt x="6578604" y="0"/>
                </a:moveTo>
                <a:lnTo>
                  <a:pt x="6578604" y="581488"/>
                </a:lnTo>
                <a:lnTo>
                  <a:pt x="6578604" y="634629"/>
                </a:lnTo>
                <a:lnTo>
                  <a:pt x="0" y="634629"/>
                </a:lnTo>
                <a:close/>
              </a:path>
            </a:pathLst>
          </a:custGeom>
          <a:solidFill>
            <a:schemeClr val="accent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25" name="Freeform 45">
            <a:extLst>
              <a:ext uri="{FF2B5EF4-FFF2-40B4-BE49-F238E27FC236}">
                <a16:creationId xmlns:a16="http://schemas.microsoft.com/office/drawing/2014/main" id="{D689FEEF-524A-4000-8584-86BE1EBD1742}"/>
              </a:ext>
            </a:extLst>
          </p:cNvPr>
          <p:cNvSpPr/>
          <p:nvPr userDrawn="1"/>
        </p:nvSpPr>
        <p:spPr>
          <a:xfrm rot="10800000">
            <a:off x="4116386" y="878210"/>
            <a:ext cx="7632701" cy="5774928"/>
          </a:xfrm>
          <a:custGeom>
            <a:avLst/>
            <a:gdLst>
              <a:gd name="connsiteX0" fmla="*/ 0 w 7632701"/>
              <a:gd name="connsiteY0" fmla="*/ 5774928 h 5774928"/>
              <a:gd name="connsiteX1" fmla="*/ 0 w 7632701"/>
              <a:gd name="connsiteY1" fmla="*/ 5759887 h 5774928"/>
              <a:gd name="connsiteX2" fmla="*/ 0 w 7632701"/>
              <a:gd name="connsiteY2" fmla="*/ 5699537 h 5774928"/>
              <a:gd name="connsiteX3" fmla="*/ 0 w 7632701"/>
              <a:gd name="connsiteY3" fmla="*/ 5559808 h 5774928"/>
              <a:gd name="connsiteX4" fmla="*/ 0 w 7632701"/>
              <a:gd name="connsiteY4" fmla="*/ 5451748 h 5774928"/>
              <a:gd name="connsiteX5" fmla="*/ 0 w 7632701"/>
              <a:gd name="connsiteY5" fmla="*/ 5393110 h 5774928"/>
              <a:gd name="connsiteX6" fmla="*/ 0 w 7632701"/>
              <a:gd name="connsiteY6" fmla="*/ 5285049 h 5774928"/>
              <a:gd name="connsiteX7" fmla="*/ 0 w 7632701"/>
              <a:gd name="connsiteY7" fmla="*/ 5137540 h 5774928"/>
              <a:gd name="connsiteX8" fmla="*/ 0 w 7632701"/>
              <a:gd name="connsiteY8" fmla="*/ 4109975 h 5774928"/>
              <a:gd name="connsiteX9" fmla="*/ 0 w 7632701"/>
              <a:gd name="connsiteY9" fmla="*/ 3487628 h 5774928"/>
              <a:gd name="connsiteX10" fmla="*/ 0 w 7632701"/>
              <a:gd name="connsiteY10" fmla="*/ 3241878 h 5774928"/>
              <a:gd name="connsiteX11" fmla="*/ 0 w 7632701"/>
              <a:gd name="connsiteY11" fmla="*/ 2832822 h 5774928"/>
              <a:gd name="connsiteX12" fmla="*/ 0 w 7632701"/>
              <a:gd name="connsiteY12" fmla="*/ 2526396 h 5774928"/>
              <a:gd name="connsiteX13" fmla="*/ 0 w 7632701"/>
              <a:gd name="connsiteY13" fmla="*/ 2418336 h 5774928"/>
              <a:gd name="connsiteX14" fmla="*/ 0 w 7632701"/>
              <a:gd name="connsiteY14" fmla="*/ 1591966 h 5774928"/>
              <a:gd name="connsiteX15" fmla="*/ 0 w 7632701"/>
              <a:gd name="connsiteY15" fmla="*/ 1182910 h 5774928"/>
              <a:gd name="connsiteX16" fmla="*/ 0 w 7632701"/>
              <a:gd name="connsiteY16" fmla="*/ 876483 h 5774928"/>
              <a:gd name="connsiteX17" fmla="*/ 0 w 7632701"/>
              <a:gd name="connsiteY17" fmla="*/ 768424 h 5774928"/>
              <a:gd name="connsiteX18" fmla="*/ 7632701 w 7632701"/>
              <a:gd name="connsiteY18" fmla="*/ 0 h 5774928"/>
              <a:gd name="connsiteX19" fmla="*/ 7632701 w 7632701"/>
              <a:gd name="connsiteY19" fmla="*/ 3341551 h 5774928"/>
              <a:gd name="connsiteX20" fmla="*/ 7632701 w 7632701"/>
              <a:gd name="connsiteY20" fmla="*/ 4991463 h 5774928"/>
              <a:gd name="connsiteX21" fmla="*/ 7632701 w 7632701"/>
              <a:gd name="connsiteY21" fmla="*/ 5006504 h 5774928"/>
              <a:gd name="connsiteX22" fmla="*/ 0 w 7632701"/>
              <a:gd name="connsiteY22" fmla="*/ 5774928 h 5774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7632701" h="5774928">
                <a:moveTo>
                  <a:pt x="0" y="5774928"/>
                </a:moveTo>
                <a:lnTo>
                  <a:pt x="0" y="5759887"/>
                </a:lnTo>
                <a:lnTo>
                  <a:pt x="0" y="5699537"/>
                </a:lnTo>
                <a:lnTo>
                  <a:pt x="0" y="5559808"/>
                </a:lnTo>
                <a:lnTo>
                  <a:pt x="0" y="5451748"/>
                </a:lnTo>
                <a:lnTo>
                  <a:pt x="0" y="5393110"/>
                </a:lnTo>
                <a:lnTo>
                  <a:pt x="0" y="5285049"/>
                </a:lnTo>
                <a:lnTo>
                  <a:pt x="0" y="5137540"/>
                </a:lnTo>
                <a:lnTo>
                  <a:pt x="0" y="4109975"/>
                </a:lnTo>
                <a:lnTo>
                  <a:pt x="0" y="3487628"/>
                </a:lnTo>
                <a:lnTo>
                  <a:pt x="0" y="3241878"/>
                </a:lnTo>
                <a:lnTo>
                  <a:pt x="0" y="2832822"/>
                </a:lnTo>
                <a:lnTo>
                  <a:pt x="0" y="2526396"/>
                </a:lnTo>
                <a:lnTo>
                  <a:pt x="0" y="2418336"/>
                </a:lnTo>
                <a:lnTo>
                  <a:pt x="0" y="1591966"/>
                </a:lnTo>
                <a:lnTo>
                  <a:pt x="0" y="1182910"/>
                </a:lnTo>
                <a:lnTo>
                  <a:pt x="0" y="876483"/>
                </a:lnTo>
                <a:lnTo>
                  <a:pt x="0" y="768424"/>
                </a:lnTo>
                <a:lnTo>
                  <a:pt x="7632701" y="0"/>
                </a:lnTo>
                <a:lnTo>
                  <a:pt x="7632701" y="3341551"/>
                </a:lnTo>
                <a:lnTo>
                  <a:pt x="7632701" y="4991463"/>
                </a:lnTo>
                <a:lnTo>
                  <a:pt x="7632701" y="5006504"/>
                </a:lnTo>
                <a:lnTo>
                  <a:pt x="0" y="5774928"/>
                </a:lnTo>
                <a:close/>
              </a:path>
            </a:pathLst>
          </a:cu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30" name="Text Placeholder 61">
            <a:extLst>
              <a:ext uri="{FF2B5EF4-FFF2-40B4-BE49-F238E27FC236}">
                <a16:creationId xmlns:a16="http://schemas.microsoft.com/office/drawing/2014/main" id="{2D02F780-5912-428A-9BD7-0A3D8102FA5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78999" y="589506"/>
            <a:ext cx="1216800" cy="1216800"/>
          </a:xfrm>
          <a:prstGeom prst="ellipse">
            <a:avLst/>
          </a:prstGeom>
          <a:solidFill>
            <a:srgbClr val="FFC000"/>
          </a:solidFill>
        </p:spPr>
        <p:txBody>
          <a:bodyPr lIns="36000" tIns="36000" rIns="36000" bIns="36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31" name="Text Placeholder 34">
            <a:extLst>
              <a:ext uri="{FF2B5EF4-FFF2-40B4-BE49-F238E27FC236}">
                <a16:creationId xmlns:a16="http://schemas.microsoft.com/office/drawing/2014/main" id="{F68C68D2-6AA1-4354-AC6D-4CF0689386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3725" y="1897317"/>
            <a:ext cx="3384550" cy="385034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32" name="Text Placeholder 34">
            <a:extLst>
              <a:ext uri="{FF2B5EF4-FFF2-40B4-BE49-F238E27FC236}">
                <a16:creationId xmlns:a16="http://schemas.microsoft.com/office/drawing/2014/main" id="{B2627D31-BA2B-49B5-A7EB-39B12E2328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89468" y="1897317"/>
            <a:ext cx="3335770" cy="385034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347825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87">
          <p15:clr>
            <a:srgbClr val="F26B43"/>
          </p15:clr>
        </p15:guide>
        <p15:guide id="2" pos="4906">
          <p15:clr>
            <a:srgbClr val="F26B43"/>
          </p15:clr>
        </p15:guide>
        <p15:guide id="3" pos="2774">
          <p15:clr>
            <a:srgbClr val="F26B43"/>
          </p15:clr>
        </p15:guide>
        <p15:guide id="4" orient="horz" pos="1185">
          <p15:clr>
            <a:srgbClr val="F26B43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// Bild ist f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5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de-DE" sz="4000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CCECD96-025F-4254-A650-7789F60826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4898"/>
          </a:xfrm>
          <a:prstGeom prst="rect">
            <a:avLst/>
          </a:prstGeom>
        </p:spPr>
      </p:pic>
      <p:sp>
        <p:nvSpPr>
          <p:cNvPr id="12" name="Freihandform: Form 14">
            <a:extLst>
              <a:ext uri="{FF2B5EF4-FFF2-40B4-BE49-F238E27FC236}">
                <a16:creationId xmlns:a16="http://schemas.microsoft.com/office/drawing/2014/main" id="{43E90D63-03AB-4F95-A0CD-C046E265DBDA}"/>
              </a:ext>
            </a:extLst>
          </p:cNvPr>
          <p:cNvSpPr/>
          <p:nvPr userDrawn="1"/>
        </p:nvSpPr>
        <p:spPr>
          <a:xfrm>
            <a:off x="-1" y="3392488"/>
            <a:ext cx="12203429" cy="3465512"/>
          </a:xfrm>
          <a:custGeom>
            <a:avLst/>
            <a:gdLst>
              <a:gd name="connsiteX0" fmla="*/ 12203429 w 12203429"/>
              <a:gd name="connsiteY0" fmla="*/ 0 h 3465512"/>
              <a:gd name="connsiteX1" fmla="*/ 12203429 w 12203429"/>
              <a:gd name="connsiteY1" fmla="*/ 537210 h 3465512"/>
              <a:gd name="connsiteX2" fmla="*/ 12203429 w 12203429"/>
              <a:gd name="connsiteY2" fmla="*/ 3465512 h 3465512"/>
              <a:gd name="connsiteX3" fmla="*/ 0 w 12203429"/>
              <a:gd name="connsiteY3" fmla="*/ 3465512 h 3465512"/>
              <a:gd name="connsiteX4" fmla="*/ 0 w 12203429"/>
              <a:gd name="connsiteY4" fmla="*/ 2438057 h 3465512"/>
              <a:gd name="connsiteX5" fmla="*/ 0 w 12203429"/>
              <a:gd name="connsiteY5" fmla="*/ 1900847 h 3465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03429" h="3465512">
                <a:moveTo>
                  <a:pt x="12203429" y="0"/>
                </a:moveTo>
                <a:lnTo>
                  <a:pt x="12203429" y="537210"/>
                </a:lnTo>
                <a:lnTo>
                  <a:pt x="12203429" y="3465512"/>
                </a:lnTo>
                <a:lnTo>
                  <a:pt x="0" y="3465512"/>
                </a:lnTo>
                <a:lnTo>
                  <a:pt x="0" y="2438057"/>
                </a:lnTo>
                <a:lnTo>
                  <a:pt x="0" y="1900847"/>
                </a:lnTo>
                <a:close/>
              </a:path>
            </a:pathLst>
          </a:custGeom>
          <a:solidFill>
            <a:schemeClr val="tx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rgbClr val="FFFFFF"/>
              </a:solidFill>
            </a:endParaRPr>
          </a:p>
        </p:txBody>
      </p:sp>
      <p:sp>
        <p:nvSpPr>
          <p:cNvPr id="13" name="Freeform 16">
            <a:extLst>
              <a:ext uri="{FF2B5EF4-FFF2-40B4-BE49-F238E27FC236}">
                <a16:creationId xmlns:a16="http://schemas.microsoft.com/office/drawing/2014/main" id="{23E87A98-CC42-4FAA-ACC3-90AA4ECAB8ED}"/>
              </a:ext>
            </a:extLst>
          </p:cNvPr>
          <p:cNvSpPr/>
          <p:nvPr userDrawn="1"/>
        </p:nvSpPr>
        <p:spPr>
          <a:xfrm>
            <a:off x="8766524" y="4206239"/>
            <a:ext cx="3194306" cy="2648659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rgbClr val="FFFFFF"/>
              </a:solidFill>
            </a:endParaRPr>
          </a:p>
        </p:txBody>
      </p:sp>
      <p:pic>
        <p:nvPicPr>
          <p:cNvPr id="14" name="Grafik 7">
            <a:extLst>
              <a:ext uri="{FF2B5EF4-FFF2-40B4-BE49-F238E27FC236}">
                <a16:creationId xmlns:a16="http://schemas.microsoft.com/office/drawing/2014/main" id="{01BA83C3-FD58-4EB6-988A-9DE1D8D9518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784" y="6092936"/>
            <a:ext cx="2433209" cy="407523"/>
          </a:xfrm>
          <a:prstGeom prst="rect">
            <a:avLst/>
          </a:prstGeom>
        </p:spPr>
      </p:pic>
      <p:sp>
        <p:nvSpPr>
          <p:cNvPr id="15" name="Rechteck 9">
            <a:extLst>
              <a:ext uri="{FF2B5EF4-FFF2-40B4-BE49-F238E27FC236}">
                <a16:creationId xmlns:a16="http://schemas.microsoft.com/office/drawing/2014/main" id="{4F314B62-78C1-467E-935B-9DC461C1F902}"/>
              </a:ext>
            </a:extLst>
          </p:cNvPr>
          <p:cNvSpPr/>
          <p:nvPr userDrawn="1"/>
        </p:nvSpPr>
        <p:spPr>
          <a:xfrm>
            <a:off x="7878751" y="5344922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defTabSz="914400">
              <a:defRPr/>
            </a:pPr>
            <a:endParaRPr lang="de-DE" sz="1600" kern="0" dirty="0">
              <a:solidFill>
                <a:srgbClr val="FFFFFF"/>
              </a:solidFill>
              <a:latin typeface="Arial Regular"/>
            </a:endParaRPr>
          </a:p>
          <a:p>
            <a:pPr defTabSz="914400">
              <a:defRPr/>
            </a:pPr>
            <a:r>
              <a:rPr lang="de-DE" sz="1600" kern="0" dirty="0">
                <a:solidFill>
                  <a:srgbClr val="FFFFFF"/>
                </a:solidFill>
                <a:latin typeface="Arial Regular"/>
              </a:rPr>
              <a:t>Tel.: 08561 300 68 - 0</a:t>
            </a:r>
            <a:br>
              <a:rPr lang="de-DE" sz="1600" kern="0" dirty="0">
                <a:solidFill>
                  <a:srgbClr val="FFFFFF"/>
                </a:solidFill>
                <a:latin typeface="Arial Regular"/>
              </a:rPr>
            </a:br>
            <a:r>
              <a:rPr lang="de-DE" sz="1600" kern="0" dirty="0">
                <a:solidFill>
                  <a:srgbClr val="FFFFFF"/>
                </a:solidFill>
                <a:latin typeface="Arial Regular"/>
              </a:rPr>
              <a:t>E-Mail: </a:t>
            </a:r>
            <a:r>
              <a:rPr lang="de-DE" sz="1600" kern="0" dirty="0" err="1">
                <a:solidFill>
                  <a:srgbClr val="FFFFFF"/>
                </a:solidFill>
                <a:latin typeface="Arial Regular"/>
              </a:rPr>
              <a:t>info@nextfarming.de</a:t>
            </a:r>
            <a:endParaRPr lang="de-DE" sz="1600" kern="0" dirty="0">
              <a:solidFill>
                <a:srgbClr val="FFFFFF"/>
              </a:solidFill>
              <a:latin typeface="Arial Regular"/>
            </a:endParaRPr>
          </a:p>
          <a:p>
            <a:pPr defTabSz="914400">
              <a:defRPr/>
            </a:pPr>
            <a:endParaRPr lang="de-DE" sz="1600" kern="0" dirty="0">
              <a:solidFill>
                <a:srgbClr val="FFFFFF"/>
              </a:solidFill>
              <a:latin typeface="Arial Regular"/>
            </a:endParaRPr>
          </a:p>
        </p:txBody>
      </p:sp>
      <p:sp>
        <p:nvSpPr>
          <p:cNvPr id="17" name="Rechteck 9">
            <a:extLst>
              <a:ext uri="{FF2B5EF4-FFF2-40B4-BE49-F238E27FC236}">
                <a16:creationId xmlns:a16="http://schemas.microsoft.com/office/drawing/2014/main" id="{24D6C36E-70EA-4A57-873C-7F5B15BB75FE}"/>
              </a:ext>
            </a:extLst>
          </p:cNvPr>
          <p:cNvSpPr/>
          <p:nvPr userDrawn="1"/>
        </p:nvSpPr>
        <p:spPr>
          <a:xfrm>
            <a:off x="7878751" y="4673494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defTabSz="914400">
              <a:defRPr/>
            </a:pPr>
            <a:r>
              <a:rPr lang="de-DE" sz="1600" kern="0" dirty="0">
                <a:solidFill>
                  <a:srgbClr val="FFFFFF"/>
                </a:solidFill>
                <a:latin typeface="Arial Regular"/>
              </a:rPr>
              <a:t>Rennbahnstraße 9</a:t>
            </a:r>
            <a:br>
              <a:rPr lang="de-DE" sz="1600" kern="0" dirty="0">
                <a:solidFill>
                  <a:srgbClr val="FFFFFF"/>
                </a:solidFill>
                <a:latin typeface="Arial Regular"/>
              </a:rPr>
            </a:br>
            <a:r>
              <a:rPr lang="de-DE" sz="1600" kern="0" dirty="0">
                <a:solidFill>
                  <a:srgbClr val="FFFFFF"/>
                </a:solidFill>
                <a:latin typeface="Arial Regular"/>
              </a:rPr>
              <a:t>84347 Pfarrkirchen</a:t>
            </a:r>
          </a:p>
        </p:txBody>
      </p:sp>
      <p:sp>
        <p:nvSpPr>
          <p:cNvPr id="18" name="Rechteck 9">
            <a:extLst>
              <a:ext uri="{FF2B5EF4-FFF2-40B4-BE49-F238E27FC236}">
                <a16:creationId xmlns:a16="http://schemas.microsoft.com/office/drawing/2014/main" id="{826C7656-9D82-4B14-992A-49BBA6F819EC}"/>
              </a:ext>
            </a:extLst>
          </p:cNvPr>
          <p:cNvSpPr/>
          <p:nvPr userDrawn="1"/>
        </p:nvSpPr>
        <p:spPr>
          <a:xfrm>
            <a:off x="7890780" y="5899102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defTabSz="914400">
              <a:defRPr/>
            </a:pPr>
            <a:endParaRPr lang="de-DE" sz="1600" kern="0" dirty="0">
              <a:solidFill>
                <a:srgbClr val="44A12C"/>
              </a:solidFill>
              <a:latin typeface="Arial Regular"/>
            </a:endParaRPr>
          </a:p>
          <a:p>
            <a:pPr defTabSz="914400">
              <a:defRPr/>
            </a:pPr>
            <a:r>
              <a:rPr lang="de-DE" sz="1600" kern="0" dirty="0" err="1">
                <a:solidFill>
                  <a:srgbClr val="44A12C"/>
                </a:solidFill>
                <a:latin typeface="Arial Regular"/>
              </a:rPr>
              <a:t>nextfarming.de</a:t>
            </a:r>
            <a:endParaRPr lang="de-DE" sz="1600" kern="0" dirty="0">
              <a:solidFill>
                <a:srgbClr val="44A12C"/>
              </a:solidFill>
              <a:latin typeface="Arial Regular"/>
            </a:endParaRPr>
          </a:p>
          <a:p>
            <a:pPr defTabSz="914400">
              <a:defRPr/>
            </a:pPr>
            <a:endParaRPr lang="de-DE" sz="1600" kern="0" dirty="0">
              <a:solidFill>
                <a:srgbClr val="44A12C"/>
              </a:solidFill>
              <a:latin typeface="Arial Regular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2187806"/>
            <a:ext cx="9224588" cy="1846659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40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br>
              <a:rPr lang="de-DE" dirty="0"/>
            </a:br>
            <a:r>
              <a:rPr lang="de-DE" dirty="0"/>
              <a:t>title style</a:t>
            </a:r>
          </a:p>
        </p:txBody>
      </p:sp>
    </p:spTree>
    <p:extLst>
      <p:ext uri="{BB962C8B-B14F-4D97-AF65-F5344CB8AC3E}">
        <p14:creationId xmlns:p14="http://schemas.microsoft.com/office/powerpoint/2010/main" val="2525112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2" pos="483">
          <p15:clr>
            <a:srgbClr val="A4A3A4"/>
          </p15:clr>
        </p15:guide>
        <p15:guide id="3" orient="horz" pos="754">
          <p15:clr>
            <a:srgbClr val="A4A3A4"/>
          </p15:clr>
        </p15:guide>
        <p15:guide id="4" orient="horz" pos="640">
          <p15:clr>
            <a:srgbClr val="A4A3A4"/>
          </p15:clr>
        </p15:guide>
        <p15:guide id="5" orient="horz" pos="210">
          <p15:clr>
            <a:srgbClr val="A4A3A4"/>
          </p15:clr>
        </p15:guide>
        <p15:guide id="6" orient="horz" pos="4065">
          <p15:clr>
            <a:srgbClr val="A4A3A4"/>
          </p15:clr>
        </p15:guide>
        <p15:guide id="7" pos="7197">
          <p15:clr>
            <a:srgbClr val="A4A3A4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// Bildplatzhalt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de-DE" sz="4000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09D9D87E-83CD-4F57-91C0-AB038C6D268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415088" cy="6858000"/>
          </a:xfrm>
          <a:custGeom>
            <a:avLst/>
            <a:gdLst>
              <a:gd name="connsiteX0" fmla="*/ 0 w 9415088"/>
              <a:gd name="connsiteY0" fmla="*/ 0 h 6858000"/>
              <a:gd name="connsiteX1" fmla="*/ 9415088 w 9415088"/>
              <a:gd name="connsiteY1" fmla="*/ 0 h 6858000"/>
              <a:gd name="connsiteX2" fmla="*/ 6217151 w 9415088"/>
              <a:gd name="connsiteY2" fmla="*/ 6858000 h 6858000"/>
              <a:gd name="connsiteX3" fmla="*/ 0 w 941508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15088" h="6858000">
                <a:moveTo>
                  <a:pt x="0" y="0"/>
                </a:moveTo>
                <a:lnTo>
                  <a:pt x="9415088" y="0"/>
                </a:lnTo>
                <a:lnTo>
                  <a:pt x="621715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20" name="Freeform 16">
            <a:extLst>
              <a:ext uri="{FF2B5EF4-FFF2-40B4-BE49-F238E27FC236}">
                <a16:creationId xmlns:a16="http://schemas.microsoft.com/office/drawing/2014/main" id="{39A11E70-DAD7-40D1-B416-A9A3AE091DAF}"/>
              </a:ext>
            </a:extLst>
          </p:cNvPr>
          <p:cNvSpPr/>
          <p:nvPr userDrawn="1"/>
        </p:nvSpPr>
        <p:spPr>
          <a:xfrm>
            <a:off x="8766524" y="4206239"/>
            <a:ext cx="3194306" cy="2648659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rgbClr val="FFFFFF"/>
              </a:solidFill>
            </a:endParaRPr>
          </a:p>
        </p:txBody>
      </p:sp>
      <p:sp>
        <p:nvSpPr>
          <p:cNvPr id="21" name="Rechteck 9">
            <a:extLst>
              <a:ext uri="{FF2B5EF4-FFF2-40B4-BE49-F238E27FC236}">
                <a16:creationId xmlns:a16="http://schemas.microsoft.com/office/drawing/2014/main" id="{B5143025-2493-4286-B28D-5D316F4CC15F}"/>
              </a:ext>
            </a:extLst>
          </p:cNvPr>
          <p:cNvSpPr/>
          <p:nvPr userDrawn="1"/>
        </p:nvSpPr>
        <p:spPr>
          <a:xfrm>
            <a:off x="7878751" y="5344922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defTabSz="914400">
              <a:defRPr/>
            </a:pPr>
            <a:endParaRPr lang="de-DE" sz="1600" kern="0" dirty="0">
              <a:solidFill>
                <a:srgbClr val="FFFFFF"/>
              </a:solidFill>
              <a:latin typeface="Arial Regular"/>
            </a:endParaRPr>
          </a:p>
          <a:p>
            <a:pPr defTabSz="914400">
              <a:defRPr/>
            </a:pPr>
            <a:r>
              <a:rPr lang="de-DE" sz="1600" kern="0" dirty="0">
                <a:solidFill>
                  <a:srgbClr val="FFFFFF"/>
                </a:solidFill>
                <a:latin typeface="Arial Regular"/>
              </a:rPr>
              <a:t>Tel.: 08561 300 68 - 0</a:t>
            </a:r>
            <a:br>
              <a:rPr lang="de-DE" sz="1600" kern="0" dirty="0">
                <a:solidFill>
                  <a:srgbClr val="FFFFFF"/>
                </a:solidFill>
                <a:latin typeface="Arial Regular"/>
              </a:rPr>
            </a:br>
            <a:r>
              <a:rPr lang="de-DE" sz="1600" kern="0" dirty="0">
                <a:solidFill>
                  <a:srgbClr val="FFFFFF"/>
                </a:solidFill>
                <a:latin typeface="Arial Regular"/>
              </a:rPr>
              <a:t>E-Mail: </a:t>
            </a:r>
            <a:r>
              <a:rPr lang="de-DE" sz="1600" kern="0" dirty="0" err="1">
                <a:solidFill>
                  <a:srgbClr val="FFFFFF"/>
                </a:solidFill>
                <a:latin typeface="Arial Regular"/>
              </a:rPr>
              <a:t>info@nextfarming.de</a:t>
            </a:r>
            <a:endParaRPr lang="de-DE" sz="1600" kern="0" dirty="0">
              <a:solidFill>
                <a:srgbClr val="FFFFFF"/>
              </a:solidFill>
              <a:latin typeface="Arial Regular"/>
            </a:endParaRPr>
          </a:p>
          <a:p>
            <a:pPr defTabSz="914400">
              <a:defRPr/>
            </a:pPr>
            <a:endParaRPr lang="de-DE" sz="1600" kern="0" dirty="0">
              <a:solidFill>
                <a:srgbClr val="FFFFFF"/>
              </a:solidFill>
              <a:latin typeface="Arial Regular"/>
            </a:endParaRPr>
          </a:p>
        </p:txBody>
      </p:sp>
      <p:sp>
        <p:nvSpPr>
          <p:cNvPr id="22" name="Rechteck 9">
            <a:extLst>
              <a:ext uri="{FF2B5EF4-FFF2-40B4-BE49-F238E27FC236}">
                <a16:creationId xmlns:a16="http://schemas.microsoft.com/office/drawing/2014/main" id="{73C0424B-5F9D-49C6-9DFD-78AE93DFFC19}"/>
              </a:ext>
            </a:extLst>
          </p:cNvPr>
          <p:cNvSpPr/>
          <p:nvPr userDrawn="1"/>
        </p:nvSpPr>
        <p:spPr>
          <a:xfrm>
            <a:off x="7878751" y="4673494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defTabSz="914400">
              <a:defRPr/>
            </a:pPr>
            <a:r>
              <a:rPr lang="de-DE" sz="1600" kern="0" dirty="0">
                <a:solidFill>
                  <a:srgbClr val="FFFFFF"/>
                </a:solidFill>
                <a:latin typeface="Arial Regular"/>
              </a:rPr>
              <a:t>Rennbahnstraße 9</a:t>
            </a:r>
            <a:br>
              <a:rPr lang="de-DE" sz="1600" kern="0" dirty="0">
                <a:solidFill>
                  <a:srgbClr val="FFFFFF"/>
                </a:solidFill>
                <a:latin typeface="Arial Regular"/>
              </a:rPr>
            </a:br>
            <a:r>
              <a:rPr lang="de-DE" sz="1600" kern="0" dirty="0">
                <a:solidFill>
                  <a:srgbClr val="FFFFFF"/>
                </a:solidFill>
                <a:latin typeface="Arial Regular"/>
              </a:rPr>
              <a:t>84347 Pfarrkirchen</a:t>
            </a:r>
          </a:p>
        </p:txBody>
      </p:sp>
      <p:sp>
        <p:nvSpPr>
          <p:cNvPr id="23" name="Rechteck 9">
            <a:extLst>
              <a:ext uri="{FF2B5EF4-FFF2-40B4-BE49-F238E27FC236}">
                <a16:creationId xmlns:a16="http://schemas.microsoft.com/office/drawing/2014/main" id="{6F212A99-82CE-43A9-BBB0-69DA270EB569}"/>
              </a:ext>
            </a:extLst>
          </p:cNvPr>
          <p:cNvSpPr/>
          <p:nvPr userDrawn="1"/>
        </p:nvSpPr>
        <p:spPr>
          <a:xfrm>
            <a:off x="7890780" y="5899102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defTabSz="914400">
              <a:defRPr/>
            </a:pPr>
            <a:endParaRPr lang="de-DE" sz="1600" kern="0" dirty="0">
              <a:solidFill>
                <a:srgbClr val="44A12C"/>
              </a:solidFill>
              <a:latin typeface="Arial Regular"/>
            </a:endParaRPr>
          </a:p>
          <a:p>
            <a:pPr defTabSz="914400">
              <a:defRPr/>
            </a:pPr>
            <a:r>
              <a:rPr lang="de-DE" sz="1600" kern="0" dirty="0" err="1">
                <a:solidFill>
                  <a:srgbClr val="44A12C"/>
                </a:solidFill>
                <a:latin typeface="Arial Regular"/>
              </a:rPr>
              <a:t>nextfarming.de</a:t>
            </a:r>
            <a:endParaRPr lang="de-DE" sz="1600" kern="0" dirty="0">
              <a:solidFill>
                <a:srgbClr val="44A12C"/>
              </a:solidFill>
              <a:latin typeface="Arial Regular"/>
            </a:endParaRPr>
          </a:p>
          <a:p>
            <a:pPr defTabSz="914400">
              <a:defRPr/>
            </a:pPr>
            <a:endParaRPr lang="de-DE" sz="1600" kern="0" dirty="0">
              <a:solidFill>
                <a:srgbClr val="44A12C"/>
              </a:solidFill>
              <a:latin typeface="Arial Regular"/>
            </a:endParaRPr>
          </a:p>
        </p:txBody>
      </p:sp>
      <p:pic>
        <p:nvPicPr>
          <p:cNvPr id="24" name="Grafik 7">
            <a:extLst>
              <a:ext uri="{FF2B5EF4-FFF2-40B4-BE49-F238E27FC236}">
                <a16:creationId xmlns:a16="http://schemas.microsoft.com/office/drawing/2014/main" id="{9E1E5A2C-E031-4C09-A410-64D0BD36410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7663" y="4014254"/>
            <a:ext cx="3349625" cy="561008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3920499"/>
            <a:ext cx="5814432" cy="1846659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4000" b="1" kern="600" spc="40" baseline="0">
                <a:solidFill>
                  <a:schemeClr val="tx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br>
              <a:rPr lang="de-DE" dirty="0"/>
            </a:br>
            <a:r>
              <a:rPr lang="de-DE" dirty="0"/>
              <a:t>title style</a:t>
            </a:r>
          </a:p>
        </p:txBody>
      </p:sp>
    </p:spTree>
    <p:extLst>
      <p:ext uri="{BB962C8B-B14F-4D97-AF65-F5344CB8AC3E}">
        <p14:creationId xmlns:p14="http://schemas.microsoft.com/office/powerpoint/2010/main" val="35067034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2" pos="483">
          <p15:clr>
            <a:srgbClr val="A4A3A4"/>
          </p15:clr>
        </p15:guide>
        <p15:guide id="3" orient="horz" pos="754">
          <p15:clr>
            <a:srgbClr val="A4A3A4"/>
          </p15:clr>
        </p15:guide>
        <p15:guide id="4" orient="horz" pos="640">
          <p15:clr>
            <a:srgbClr val="A4A3A4"/>
          </p15:clr>
        </p15:guide>
        <p15:guide id="5" orient="horz" pos="210">
          <p15:clr>
            <a:srgbClr val="A4A3A4"/>
          </p15:clr>
        </p15:guide>
        <p15:guide id="6" orient="horz" pos="4065">
          <p15:clr>
            <a:srgbClr val="A4A3A4"/>
          </p15:clr>
        </p15:guide>
        <p15:guide id="7" pos="7197">
          <p15:clr>
            <a:srgbClr val="A4A3A4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E32608B-3578-4508-935F-E7D3A153A54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12192000" cy="6858001"/>
          </a:xfrm>
          <a:custGeom>
            <a:avLst/>
            <a:gdLst>
              <a:gd name="connsiteX0" fmla="*/ 0 w 18288000"/>
              <a:gd name="connsiteY0" fmla="*/ 0 h 10287001"/>
              <a:gd name="connsiteX1" fmla="*/ 18288000 w 18288000"/>
              <a:gd name="connsiteY1" fmla="*/ 0 h 10287001"/>
              <a:gd name="connsiteX2" fmla="*/ 18288000 w 18288000"/>
              <a:gd name="connsiteY2" fmla="*/ 10287001 h 10287001"/>
              <a:gd name="connsiteX3" fmla="*/ 0 w 18288000"/>
              <a:gd name="connsiteY3" fmla="*/ 10287001 h 10287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288000" h="10287001">
                <a:moveTo>
                  <a:pt x="0" y="0"/>
                </a:moveTo>
                <a:lnTo>
                  <a:pt x="18288000" y="0"/>
                </a:lnTo>
                <a:lnTo>
                  <a:pt x="18288000" y="10287001"/>
                </a:lnTo>
                <a:lnTo>
                  <a:pt x="0" y="10287001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B05BB41-D3AD-564D-B399-5B341E1DF8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90792" y="463588"/>
            <a:ext cx="1014591" cy="168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38834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// F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652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32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Rechteck 9">
            <a:extLst>
              <a:ext uri="{FF2B5EF4-FFF2-40B4-BE49-F238E27FC236}">
                <a16:creationId xmlns:a16="http://schemas.microsoft.com/office/drawing/2014/main" id="{FAF66208-BE51-4383-B61E-7C1B1F88E877}"/>
              </a:ext>
            </a:extLst>
          </p:cNvPr>
          <p:cNvSpPr/>
          <p:nvPr userDrawn="1"/>
        </p:nvSpPr>
        <p:spPr>
          <a:xfrm>
            <a:off x="353291" y="336550"/>
            <a:ext cx="11485419" cy="618807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lang="de-DE" kern="0" dirty="0">
              <a:solidFill>
                <a:srgbClr val="FFFFFF"/>
              </a:solidFill>
              <a:latin typeface="Arial Regular"/>
            </a:endParaRPr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563CB5D8-D2C9-495A-93FD-C17AF9B306F0}"/>
              </a:ext>
            </a:extLst>
          </p:cNvPr>
          <p:cNvSpPr/>
          <p:nvPr userDrawn="1"/>
        </p:nvSpPr>
        <p:spPr>
          <a:xfrm>
            <a:off x="8475451" y="3886646"/>
            <a:ext cx="3194306" cy="2648659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chemeClr val="bg1">
              <a:alpha val="23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A57404-7CC7-4DE1-B6B1-1CE4EC33F2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92413" y="2815748"/>
            <a:ext cx="6607175" cy="1477328"/>
          </a:xfrm>
        </p:spPr>
        <p:txBody>
          <a:bodyPr anchor="ctr">
            <a:noAutofit/>
          </a:bodyPr>
          <a:lstStyle>
            <a:lvl1pPr marL="0" indent="0">
              <a:buNone/>
              <a:defRPr sz="3200" kern="100" spc="0" baseline="0">
                <a:solidFill>
                  <a:schemeClr val="bg1"/>
                </a:solidFill>
              </a:defRPr>
            </a:lvl1pPr>
            <a:lvl2pPr marL="358775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94423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 userDrawn="1">
          <p15:clr>
            <a:srgbClr val="A4A3A4"/>
          </p15:clr>
        </p15:guide>
        <p15:guide id="2" pos="483" userDrawn="1">
          <p15:clr>
            <a:srgbClr val="A4A3A4"/>
          </p15:clr>
        </p15:guide>
        <p15:guide id="4" orient="horz" pos="754" userDrawn="1">
          <p15:clr>
            <a:srgbClr val="A4A3A4"/>
          </p15:clr>
        </p15:guide>
        <p15:guide id="5" orient="horz" pos="640" userDrawn="1">
          <p15:clr>
            <a:srgbClr val="A4A3A4"/>
          </p15:clr>
        </p15:guide>
        <p15:guide id="6" orient="horz" pos="4065" userDrawn="1">
          <p15:clr>
            <a:srgbClr val="A4A3A4"/>
          </p15:clr>
        </p15:guide>
        <p15:guide id="7" pos="7197" userDrawn="1">
          <p15:clr>
            <a:srgbClr val="A4A3A4"/>
          </p15:clr>
        </p15:guide>
        <p15:guide id="8" orient="horz" pos="4110" userDrawn="1">
          <p15:clr>
            <a:srgbClr val="F26B43"/>
          </p15:clr>
        </p15:guide>
        <p15:guide id="9" pos="226" userDrawn="1">
          <p15:clr>
            <a:srgbClr val="F26B43"/>
          </p15:clr>
        </p15:guide>
        <p15:guide id="10" pos="7452" userDrawn="1">
          <p15:clr>
            <a:srgbClr val="F26B43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seite Weltkugel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7"/>
          <p:cNvSpPr>
            <a:spLocks noGrp="1"/>
          </p:cNvSpPr>
          <p:nvPr>
            <p:ph type="title" hasCustomPrompt="1"/>
          </p:nvPr>
        </p:nvSpPr>
        <p:spPr>
          <a:xfrm>
            <a:off x="728134" y="2185875"/>
            <a:ext cx="5735297" cy="5746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lang="de-DE" sz="1867" b="1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Permanent Marker" panose="02000000000000000000" pitchFamily="2" charset="0"/>
                <a:cs typeface="Arial" panose="020B0604020202020204" pitchFamily="34" charset="0"/>
              </a:defRPr>
            </a:lvl1pPr>
          </a:lstStyle>
          <a:p>
            <a:pPr marL="0" lvl="0" defTabSz="304815">
              <a:spcBef>
                <a:spcPts val="800"/>
              </a:spcBef>
            </a:pPr>
            <a:r>
              <a:rPr lang="de-DE" dirty="0"/>
              <a:t>Titel der Präsentation </a:t>
            </a:r>
            <a:br>
              <a:rPr lang="de-DE" dirty="0"/>
            </a:br>
            <a:r>
              <a:rPr lang="de-DE" dirty="0"/>
              <a:t>– durch Klicken zu bearbeiten</a:t>
            </a:r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728133" y="3090680"/>
            <a:ext cx="5367867" cy="77046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600" b="1" baseline="0">
                <a:solidFill>
                  <a:srgbClr val="44A12C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Untertitel </a:t>
            </a:r>
            <a:br>
              <a:rPr lang="de-DE" dirty="0"/>
            </a:br>
            <a:r>
              <a:rPr lang="de-DE" dirty="0"/>
              <a:t>– durch klicken zu bearbeiten</a:t>
            </a:r>
          </a:p>
        </p:txBody>
      </p:sp>
      <p:sp>
        <p:nvSpPr>
          <p:cNvPr id="17" name="Textplatzhalt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28134" y="4404787"/>
            <a:ext cx="5372953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3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Ggf. weiterer Text</a:t>
            </a:r>
          </a:p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</a:t>
            </a:r>
            <a:r>
              <a:rPr lang="de-DE" dirty="0" err="1"/>
              <a:t>erat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</p:txBody>
      </p:sp>
      <p:sp>
        <p:nvSpPr>
          <p:cNvPr id="18" name="Textplatzhalter 13"/>
          <p:cNvSpPr>
            <a:spLocks noGrp="1"/>
          </p:cNvSpPr>
          <p:nvPr>
            <p:ph type="body" sz="quarter" idx="17" hasCustomPrompt="1"/>
          </p:nvPr>
        </p:nvSpPr>
        <p:spPr>
          <a:xfrm>
            <a:off x="728134" y="1494713"/>
            <a:ext cx="5735297" cy="241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33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Datum, Ort – durch Klicken zu bearbeiten</a:t>
            </a:r>
          </a:p>
        </p:txBody>
      </p:sp>
      <p:sp>
        <p:nvSpPr>
          <p:cNvPr id="19" name="Textfeld 18"/>
          <p:cNvSpPr txBox="1"/>
          <p:nvPr userDrawn="1"/>
        </p:nvSpPr>
        <p:spPr>
          <a:xfrm>
            <a:off x="689386" y="6233916"/>
            <a:ext cx="4945181" cy="287258"/>
          </a:xfrm>
          <a:prstGeom prst="rect">
            <a:avLst/>
          </a:prstGeom>
        </p:spPr>
        <p:txBody>
          <a:bodyPr/>
          <a:lstStyle>
            <a:lvl1pPr lvl="0" indent="0" defTabSz="9144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aseline="0">
                <a:solidFill>
                  <a:schemeClr val="bg1">
                    <a:lumMod val="50000"/>
                  </a:schemeClr>
                </a:solidFill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sz="667" dirty="0">
                <a:solidFill>
                  <a:srgbClr val="000000">
                    <a:lumMod val="65000"/>
                    <a:lumOff val="35000"/>
                  </a:srgbClr>
                </a:solidFill>
              </a:rPr>
              <a:t>Vorname Nachname</a:t>
            </a:r>
          </a:p>
          <a:p>
            <a:r>
              <a:rPr lang="de-DE" sz="667" dirty="0">
                <a:solidFill>
                  <a:srgbClr val="000000">
                    <a:lumMod val="65000"/>
                    <a:lumOff val="35000"/>
                  </a:srgbClr>
                </a:solidFill>
              </a:rPr>
              <a:t>Funktion</a:t>
            </a:r>
          </a:p>
        </p:txBody>
      </p:sp>
    </p:spTree>
    <p:extLst>
      <p:ext uri="{BB962C8B-B14F-4D97-AF65-F5344CB8AC3E}">
        <p14:creationId xmlns:p14="http://schemas.microsoft.com/office/powerpoint/2010/main" val="19396898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CHWARZ links // Bildplatzhalt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2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de-DE" sz="3200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A7EB04B2-B630-41B2-AFB3-553D6397A80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222241" y="0"/>
            <a:ext cx="6969759" cy="6858000"/>
          </a:xfrm>
          <a:custGeom>
            <a:avLst/>
            <a:gdLst>
              <a:gd name="connsiteX0" fmla="*/ 0 w 6969759"/>
              <a:gd name="connsiteY0" fmla="*/ 0 h 6858000"/>
              <a:gd name="connsiteX1" fmla="*/ 6969759 w 6969759"/>
              <a:gd name="connsiteY1" fmla="*/ 0 h 6858000"/>
              <a:gd name="connsiteX2" fmla="*/ 6969759 w 6969759"/>
              <a:gd name="connsiteY2" fmla="*/ 6858000 h 6858000"/>
              <a:gd name="connsiteX3" fmla="*/ 508945 w 6969759"/>
              <a:gd name="connsiteY3" fmla="*/ 6858000 h 6858000"/>
              <a:gd name="connsiteX4" fmla="*/ 3706883 w 6969759"/>
              <a:gd name="connsiteY4" fmla="*/ 1 h 6858000"/>
              <a:gd name="connsiteX5" fmla="*/ 833898 w 6969759"/>
              <a:gd name="connsiteY5" fmla="*/ 1 h 6858000"/>
              <a:gd name="connsiteX6" fmla="*/ 833897 w 6969759"/>
              <a:gd name="connsiteY6" fmla="*/ 4 h 6858000"/>
              <a:gd name="connsiteX7" fmla="*/ 0 w 6969759"/>
              <a:gd name="connsiteY7" fmla="*/ 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69759" h="6858000">
                <a:moveTo>
                  <a:pt x="0" y="0"/>
                </a:moveTo>
                <a:lnTo>
                  <a:pt x="6969759" y="0"/>
                </a:lnTo>
                <a:lnTo>
                  <a:pt x="6969759" y="6858000"/>
                </a:lnTo>
                <a:lnTo>
                  <a:pt x="508945" y="6858000"/>
                </a:lnTo>
                <a:lnTo>
                  <a:pt x="3706883" y="1"/>
                </a:lnTo>
                <a:lnTo>
                  <a:pt x="833898" y="1"/>
                </a:lnTo>
                <a:lnTo>
                  <a:pt x="833897" y="4"/>
                </a:lnTo>
                <a:lnTo>
                  <a:pt x="0" y="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7" name="Freeform 20">
            <a:extLst>
              <a:ext uri="{FF2B5EF4-FFF2-40B4-BE49-F238E27FC236}">
                <a16:creationId xmlns:a16="http://schemas.microsoft.com/office/drawing/2014/main" id="{20143032-539B-475F-916F-D6751F8BCF55}"/>
              </a:ext>
            </a:extLst>
          </p:cNvPr>
          <p:cNvSpPr/>
          <p:nvPr userDrawn="1"/>
        </p:nvSpPr>
        <p:spPr>
          <a:xfrm>
            <a:off x="23446" y="4782085"/>
            <a:ext cx="2503570" cy="2075914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rgbClr val="FFFFFF"/>
              </a:solidFill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F7F2D2A-67E7-48AB-9757-E47BE416C04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973" y="5869536"/>
            <a:ext cx="3175725" cy="531882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2187806"/>
            <a:ext cx="6050183" cy="984885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32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6F3D174-89D1-411B-90BD-5D8D57671A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1" y="3652838"/>
            <a:ext cx="9212849" cy="738664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545114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2" pos="483">
          <p15:clr>
            <a:srgbClr val="A4A3A4"/>
          </p15:clr>
        </p15:guide>
        <p15:guide id="3" orient="horz" pos="754">
          <p15:clr>
            <a:srgbClr val="A4A3A4"/>
          </p15:clr>
        </p15:guide>
        <p15:guide id="4" orient="horz" pos="640">
          <p15:clr>
            <a:srgbClr val="A4A3A4"/>
          </p15:clr>
        </p15:guide>
        <p15:guide id="5" orient="horz" pos="210">
          <p15:clr>
            <a:srgbClr val="A4A3A4"/>
          </p15:clr>
        </p15:guide>
        <p15:guide id="6" orient="horz" pos="4065">
          <p15:clr>
            <a:srgbClr val="A4A3A4"/>
          </p15:clr>
        </p15:guide>
        <p15:guide id="7" pos="7197">
          <p15:clr>
            <a:srgbClr val="A4A3A4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links // Bild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5">
            <a:extLst>
              <a:ext uri="{FF2B5EF4-FFF2-40B4-BE49-F238E27FC236}">
                <a16:creationId xmlns:a16="http://schemas.microsoft.com/office/drawing/2014/main" id="{7258EA99-7DAC-3E40-9C09-6999BF263A6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222241" y="0"/>
            <a:ext cx="6969759" cy="6858000"/>
          </a:xfrm>
          <a:custGeom>
            <a:avLst/>
            <a:gdLst>
              <a:gd name="connsiteX0" fmla="*/ 0 w 6969759"/>
              <a:gd name="connsiteY0" fmla="*/ 0 h 6858000"/>
              <a:gd name="connsiteX1" fmla="*/ 6969759 w 6969759"/>
              <a:gd name="connsiteY1" fmla="*/ 0 h 6858000"/>
              <a:gd name="connsiteX2" fmla="*/ 6969759 w 6969759"/>
              <a:gd name="connsiteY2" fmla="*/ 6858000 h 6858000"/>
              <a:gd name="connsiteX3" fmla="*/ 508945 w 6969759"/>
              <a:gd name="connsiteY3" fmla="*/ 6858000 h 6858000"/>
              <a:gd name="connsiteX4" fmla="*/ 3706883 w 6969759"/>
              <a:gd name="connsiteY4" fmla="*/ 1 h 6858000"/>
              <a:gd name="connsiteX5" fmla="*/ 833898 w 6969759"/>
              <a:gd name="connsiteY5" fmla="*/ 1 h 6858000"/>
              <a:gd name="connsiteX6" fmla="*/ 833897 w 6969759"/>
              <a:gd name="connsiteY6" fmla="*/ 4 h 6858000"/>
              <a:gd name="connsiteX7" fmla="*/ 0 w 6969759"/>
              <a:gd name="connsiteY7" fmla="*/ 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69759" h="6858000">
                <a:moveTo>
                  <a:pt x="0" y="0"/>
                </a:moveTo>
                <a:lnTo>
                  <a:pt x="6969759" y="0"/>
                </a:lnTo>
                <a:lnTo>
                  <a:pt x="6969759" y="6858000"/>
                </a:lnTo>
                <a:lnTo>
                  <a:pt x="508945" y="6858000"/>
                </a:lnTo>
                <a:lnTo>
                  <a:pt x="3706883" y="1"/>
                </a:lnTo>
                <a:lnTo>
                  <a:pt x="833898" y="1"/>
                </a:lnTo>
                <a:lnTo>
                  <a:pt x="833897" y="4"/>
                </a:lnTo>
                <a:lnTo>
                  <a:pt x="0" y="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5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de-DE" sz="3200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6" name="Freihandform: Form 23">
            <a:extLst>
              <a:ext uri="{FF2B5EF4-FFF2-40B4-BE49-F238E27FC236}">
                <a16:creationId xmlns:a16="http://schemas.microsoft.com/office/drawing/2014/main" id="{D17C017F-76C8-4520-8E7D-038F187A2379}"/>
              </a:ext>
            </a:extLst>
          </p:cNvPr>
          <p:cNvSpPr/>
          <p:nvPr userDrawn="1"/>
        </p:nvSpPr>
        <p:spPr>
          <a:xfrm rot="5400000" flipH="1">
            <a:off x="1035562" y="-1035561"/>
            <a:ext cx="6858000" cy="8929123"/>
          </a:xfrm>
          <a:custGeom>
            <a:avLst/>
            <a:gdLst>
              <a:gd name="connsiteX0" fmla="*/ 6858000 w 6858000"/>
              <a:gd name="connsiteY0" fmla="*/ 2872985 h 8929123"/>
              <a:gd name="connsiteX1" fmla="*/ 6858000 w 6858000"/>
              <a:gd name="connsiteY1" fmla="*/ 0 h 8929123"/>
              <a:gd name="connsiteX2" fmla="*/ 0 w 6858000"/>
              <a:gd name="connsiteY2" fmla="*/ 3197938 h 8929123"/>
              <a:gd name="connsiteX3" fmla="*/ 0 w 6858000"/>
              <a:gd name="connsiteY3" fmla="*/ 8929123 h 8929123"/>
              <a:gd name="connsiteX4" fmla="*/ 6857997 w 6858000"/>
              <a:gd name="connsiteY4" fmla="*/ 8929123 h 8929123"/>
              <a:gd name="connsiteX5" fmla="*/ 6857997 w 6858000"/>
              <a:gd name="connsiteY5" fmla="*/ 2872986 h 8929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58000" h="8929123">
                <a:moveTo>
                  <a:pt x="6858000" y="2872985"/>
                </a:moveTo>
                <a:lnTo>
                  <a:pt x="6858000" y="0"/>
                </a:lnTo>
                <a:lnTo>
                  <a:pt x="0" y="3197938"/>
                </a:lnTo>
                <a:lnTo>
                  <a:pt x="0" y="8929123"/>
                </a:lnTo>
                <a:lnTo>
                  <a:pt x="6857997" y="8929123"/>
                </a:lnTo>
                <a:lnTo>
                  <a:pt x="6857997" y="2872986"/>
                </a:lnTo>
                <a:close/>
              </a:path>
            </a:pathLst>
          </a:cu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277EBB7D-F249-4E77-9B9C-BD9DBD49E7EB}"/>
              </a:ext>
            </a:extLst>
          </p:cNvPr>
          <p:cNvSpPr/>
          <p:nvPr userDrawn="1"/>
        </p:nvSpPr>
        <p:spPr>
          <a:xfrm>
            <a:off x="23446" y="4782085"/>
            <a:ext cx="2503570" cy="2075914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92C11B">
              <a:alpha val="41961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rgbClr val="FFFFFF"/>
              </a:solidFill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2187806"/>
            <a:ext cx="6050183" cy="984885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32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6F3D174-89D1-411B-90BD-5D8D57671A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1" y="3652838"/>
            <a:ext cx="9212849" cy="738664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14" name="Grafik 7">
            <a:extLst>
              <a:ext uri="{FF2B5EF4-FFF2-40B4-BE49-F238E27FC236}">
                <a16:creationId xmlns:a16="http://schemas.microsoft.com/office/drawing/2014/main" id="{91C20983-4BB4-481B-8202-F63F178E34B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973" y="5869536"/>
            <a:ext cx="3175725" cy="531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969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2" pos="483">
          <p15:clr>
            <a:srgbClr val="A4A3A4"/>
          </p15:clr>
        </p15:guide>
        <p15:guide id="3" orient="horz" pos="754">
          <p15:clr>
            <a:srgbClr val="A4A3A4"/>
          </p15:clr>
        </p15:guide>
        <p15:guide id="4" orient="horz" pos="640">
          <p15:clr>
            <a:srgbClr val="A4A3A4"/>
          </p15:clr>
        </p15:guide>
        <p15:guide id="5" orient="horz" pos="210">
          <p15:clr>
            <a:srgbClr val="A4A3A4"/>
          </p15:clr>
        </p15:guide>
        <p15:guide id="6" orient="horz" pos="4065">
          <p15:clr>
            <a:srgbClr val="A4A3A4"/>
          </p15:clr>
        </p15:guide>
        <p15:guide id="7" pos="7197">
          <p15:clr>
            <a:srgbClr val="A4A3A4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links // Bild f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7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de-DE" sz="3200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ADA371A-43BB-4A0E-AC24-3821A653AD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06475" y="-1"/>
            <a:ext cx="8189789" cy="6858001"/>
          </a:xfrm>
          <a:prstGeom prst="rect">
            <a:avLst/>
          </a:prstGeom>
        </p:spPr>
      </p:pic>
      <p:sp>
        <p:nvSpPr>
          <p:cNvPr id="6" name="Freihandform: Form 23">
            <a:extLst>
              <a:ext uri="{FF2B5EF4-FFF2-40B4-BE49-F238E27FC236}">
                <a16:creationId xmlns:a16="http://schemas.microsoft.com/office/drawing/2014/main" id="{D17C017F-76C8-4520-8E7D-038F187A2379}"/>
              </a:ext>
            </a:extLst>
          </p:cNvPr>
          <p:cNvSpPr/>
          <p:nvPr userDrawn="1"/>
        </p:nvSpPr>
        <p:spPr>
          <a:xfrm rot="5400000" flipH="1">
            <a:off x="1035562" y="-1035561"/>
            <a:ext cx="6858000" cy="8929123"/>
          </a:xfrm>
          <a:custGeom>
            <a:avLst/>
            <a:gdLst>
              <a:gd name="connsiteX0" fmla="*/ 6858000 w 6858000"/>
              <a:gd name="connsiteY0" fmla="*/ 2872985 h 8929123"/>
              <a:gd name="connsiteX1" fmla="*/ 6858000 w 6858000"/>
              <a:gd name="connsiteY1" fmla="*/ 0 h 8929123"/>
              <a:gd name="connsiteX2" fmla="*/ 0 w 6858000"/>
              <a:gd name="connsiteY2" fmla="*/ 3197938 h 8929123"/>
              <a:gd name="connsiteX3" fmla="*/ 0 w 6858000"/>
              <a:gd name="connsiteY3" fmla="*/ 8929123 h 8929123"/>
              <a:gd name="connsiteX4" fmla="*/ 6857997 w 6858000"/>
              <a:gd name="connsiteY4" fmla="*/ 8929123 h 8929123"/>
              <a:gd name="connsiteX5" fmla="*/ 6857997 w 6858000"/>
              <a:gd name="connsiteY5" fmla="*/ 2872986 h 8929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58000" h="8929123">
                <a:moveTo>
                  <a:pt x="6858000" y="2872985"/>
                </a:moveTo>
                <a:lnTo>
                  <a:pt x="6858000" y="0"/>
                </a:lnTo>
                <a:lnTo>
                  <a:pt x="0" y="3197938"/>
                </a:lnTo>
                <a:lnTo>
                  <a:pt x="0" y="8929123"/>
                </a:lnTo>
                <a:lnTo>
                  <a:pt x="6857997" y="8929123"/>
                </a:lnTo>
                <a:lnTo>
                  <a:pt x="6857997" y="2872986"/>
                </a:lnTo>
                <a:close/>
              </a:path>
            </a:pathLst>
          </a:cu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277EBB7D-F249-4E77-9B9C-BD9DBD49E7EB}"/>
              </a:ext>
            </a:extLst>
          </p:cNvPr>
          <p:cNvSpPr/>
          <p:nvPr userDrawn="1"/>
        </p:nvSpPr>
        <p:spPr>
          <a:xfrm>
            <a:off x="23446" y="4782085"/>
            <a:ext cx="2503570" cy="2075914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92C11B">
              <a:alpha val="41961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rgbClr val="FFFFFF"/>
              </a:solidFill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2187806"/>
            <a:ext cx="6050183" cy="984885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32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6F3D174-89D1-411B-90BD-5D8D57671A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1" y="3652838"/>
            <a:ext cx="9212849" cy="738664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14" name="Grafik 7">
            <a:extLst>
              <a:ext uri="{FF2B5EF4-FFF2-40B4-BE49-F238E27FC236}">
                <a16:creationId xmlns:a16="http://schemas.microsoft.com/office/drawing/2014/main" id="{91C20983-4BB4-481B-8202-F63F178E34B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973" y="5869536"/>
            <a:ext cx="3175725" cy="531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76053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2" pos="483">
          <p15:clr>
            <a:srgbClr val="A4A3A4"/>
          </p15:clr>
        </p15:guide>
        <p15:guide id="3" orient="horz" pos="754">
          <p15:clr>
            <a:srgbClr val="A4A3A4"/>
          </p15:clr>
        </p15:guide>
        <p15:guide id="4" orient="horz" pos="640">
          <p15:clr>
            <a:srgbClr val="A4A3A4"/>
          </p15:clr>
        </p15:guide>
        <p15:guide id="5" orient="horz" pos="210">
          <p15:clr>
            <a:srgbClr val="A4A3A4"/>
          </p15:clr>
        </p15:guide>
        <p15:guide id="6" orient="horz" pos="4065">
          <p15:clr>
            <a:srgbClr val="A4A3A4"/>
          </p15:clr>
        </p15:guide>
        <p15:guide id="7" pos="7197">
          <p15:clr>
            <a:srgbClr val="A4A3A4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CHWARZ // Bildplatzhalt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9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de-DE" sz="4800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9C8FAAA3-C206-4AB6-B5E7-12A5FFBDB57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5286826"/>
          </a:xfrm>
          <a:custGeom>
            <a:avLst/>
            <a:gdLst>
              <a:gd name="connsiteX0" fmla="*/ 0 w 12192000"/>
              <a:gd name="connsiteY0" fmla="*/ 0 h 5286826"/>
              <a:gd name="connsiteX1" fmla="*/ 12192000 w 12192000"/>
              <a:gd name="connsiteY1" fmla="*/ 0 h 5286826"/>
              <a:gd name="connsiteX2" fmla="*/ 12192000 w 12192000"/>
              <a:gd name="connsiteY2" fmla="*/ 4110680 h 5286826"/>
              <a:gd name="connsiteX3" fmla="*/ 0 w 12192000"/>
              <a:gd name="connsiteY3" fmla="*/ 5286826 h 5286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286826">
                <a:moveTo>
                  <a:pt x="0" y="0"/>
                </a:moveTo>
                <a:lnTo>
                  <a:pt x="12192000" y="0"/>
                </a:lnTo>
                <a:lnTo>
                  <a:pt x="12192000" y="4110680"/>
                </a:lnTo>
                <a:lnTo>
                  <a:pt x="0" y="528682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1587030"/>
            <a:ext cx="7856911" cy="1477328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48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6F3D174-89D1-411B-90BD-5D8D57671A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1" y="3375890"/>
            <a:ext cx="9212849" cy="984885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3200" b="1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3CC68A23-E418-487E-BB61-DBF9AB5D5585}"/>
              </a:ext>
            </a:extLst>
          </p:cNvPr>
          <p:cNvSpPr/>
          <p:nvPr userDrawn="1"/>
        </p:nvSpPr>
        <p:spPr>
          <a:xfrm>
            <a:off x="9413269" y="4782085"/>
            <a:ext cx="2503570" cy="2075914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rgbClr val="FFFFFF"/>
              </a:solidFill>
            </a:endParaRPr>
          </a:p>
        </p:txBody>
      </p:sp>
      <p:pic>
        <p:nvPicPr>
          <p:cNvPr id="14" name="Grafik 7">
            <a:extLst>
              <a:ext uri="{FF2B5EF4-FFF2-40B4-BE49-F238E27FC236}">
                <a16:creationId xmlns:a16="http://schemas.microsoft.com/office/drawing/2014/main" id="{47771F56-AB96-4166-9A11-401910BDF52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7897" y="5679467"/>
            <a:ext cx="4310578" cy="721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50805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2" pos="483">
          <p15:clr>
            <a:srgbClr val="A4A3A4"/>
          </p15:clr>
        </p15:guide>
        <p15:guide id="3" orient="horz" pos="754">
          <p15:clr>
            <a:srgbClr val="A4A3A4"/>
          </p15:clr>
        </p15:guide>
        <p15:guide id="4" orient="horz" pos="640">
          <p15:clr>
            <a:srgbClr val="A4A3A4"/>
          </p15:clr>
        </p15:guide>
        <p15:guide id="5" orient="horz" pos="210">
          <p15:clr>
            <a:srgbClr val="A4A3A4"/>
          </p15:clr>
        </p15:guide>
        <p15:guide id="6" pos="7197">
          <p15:clr>
            <a:srgbClr val="A4A3A4"/>
          </p15:clr>
        </p15:guide>
        <p15:guide id="7" orient="horz" pos="4065">
          <p15:clr>
            <a:srgbClr val="A4A3A4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// Bildplatzhal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2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de-DE" sz="4800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2" name="Picture Placeholder 17">
            <a:extLst>
              <a:ext uri="{FF2B5EF4-FFF2-40B4-BE49-F238E27FC236}">
                <a16:creationId xmlns:a16="http://schemas.microsoft.com/office/drawing/2014/main" id="{8BBD763D-9831-4A19-A5FB-7D047CE374B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5286826"/>
          </a:xfrm>
          <a:custGeom>
            <a:avLst/>
            <a:gdLst>
              <a:gd name="connsiteX0" fmla="*/ 0 w 12192000"/>
              <a:gd name="connsiteY0" fmla="*/ 0 h 5286826"/>
              <a:gd name="connsiteX1" fmla="*/ 12192000 w 12192000"/>
              <a:gd name="connsiteY1" fmla="*/ 0 h 5286826"/>
              <a:gd name="connsiteX2" fmla="*/ 12192000 w 12192000"/>
              <a:gd name="connsiteY2" fmla="*/ 4110680 h 5286826"/>
              <a:gd name="connsiteX3" fmla="*/ 0 w 12192000"/>
              <a:gd name="connsiteY3" fmla="*/ 5286826 h 5286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286826">
                <a:moveTo>
                  <a:pt x="0" y="0"/>
                </a:moveTo>
                <a:lnTo>
                  <a:pt x="12192000" y="0"/>
                </a:lnTo>
                <a:lnTo>
                  <a:pt x="12192000" y="4110680"/>
                </a:lnTo>
                <a:lnTo>
                  <a:pt x="0" y="528682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grpSp>
        <p:nvGrpSpPr>
          <p:cNvPr id="19" name="Group 11">
            <a:extLst>
              <a:ext uri="{FF2B5EF4-FFF2-40B4-BE49-F238E27FC236}">
                <a16:creationId xmlns:a16="http://schemas.microsoft.com/office/drawing/2014/main" id="{DD0B2458-7347-4F27-A78C-530CE66DB127}"/>
              </a:ext>
            </a:extLst>
          </p:cNvPr>
          <p:cNvGrpSpPr/>
          <p:nvPr userDrawn="1"/>
        </p:nvGrpSpPr>
        <p:grpSpPr>
          <a:xfrm>
            <a:off x="1" y="4180551"/>
            <a:ext cx="12192000" cy="2084670"/>
            <a:chOff x="-14320" y="4773330"/>
            <a:chExt cx="12206319" cy="2084670"/>
          </a:xfrm>
          <a:solidFill>
            <a:schemeClr val="tx2"/>
          </a:solidFill>
        </p:grpSpPr>
        <p:sp>
          <p:nvSpPr>
            <p:cNvPr id="20" name="Freihandform: Form 36">
              <a:extLst>
                <a:ext uri="{FF2B5EF4-FFF2-40B4-BE49-F238E27FC236}">
                  <a16:creationId xmlns:a16="http://schemas.microsoft.com/office/drawing/2014/main" id="{A4428FEA-6C26-4852-A3E9-8FF018FA60FA}"/>
                </a:ext>
              </a:extLst>
            </p:cNvPr>
            <p:cNvSpPr/>
            <p:nvPr/>
          </p:nvSpPr>
          <p:spPr>
            <a:xfrm>
              <a:off x="-14320" y="4773330"/>
              <a:ext cx="12206319" cy="1177527"/>
            </a:xfrm>
            <a:custGeom>
              <a:avLst/>
              <a:gdLst>
                <a:gd name="connsiteX0" fmla="*/ 6984082 w 6984082"/>
                <a:gd name="connsiteY0" fmla="*/ 0 h 1087864"/>
                <a:gd name="connsiteX1" fmla="*/ 6984082 w 6984082"/>
                <a:gd name="connsiteY1" fmla="*/ 537210 h 1087864"/>
                <a:gd name="connsiteX2" fmla="*/ 6984082 w 6984082"/>
                <a:gd name="connsiteY2" fmla="*/ 1087864 h 1087864"/>
                <a:gd name="connsiteX3" fmla="*/ 0 w 6984082"/>
                <a:gd name="connsiteY3" fmla="*/ 1087864 h 108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4082" h="1087864">
                  <a:moveTo>
                    <a:pt x="6984082" y="0"/>
                  </a:moveTo>
                  <a:lnTo>
                    <a:pt x="6984082" y="537210"/>
                  </a:lnTo>
                  <a:lnTo>
                    <a:pt x="6984082" y="1087864"/>
                  </a:lnTo>
                  <a:lnTo>
                    <a:pt x="0" y="108786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22" name="Freihandform: Form 36">
              <a:extLst>
                <a:ext uri="{FF2B5EF4-FFF2-40B4-BE49-F238E27FC236}">
                  <a16:creationId xmlns:a16="http://schemas.microsoft.com/office/drawing/2014/main" id="{C5F530EB-DAA4-4C10-9CB7-29DF4AEF6C25}"/>
                </a:ext>
              </a:extLst>
            </p:cNvPr>
            <p:cNvSpPr/>
            <p:nvPr/>
          </p:nvSpPr>
          <p:spPr>
            <a:xfrm>
              <a:off x="-14320" y="5950857"/>
              <a:ext cx="12206319" cy="907143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1587030"/>
            <a:ext cx="7856911" cy="1477328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48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6F3D174-89D1-411B-90BD-5D8D57671A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1" y="3375890"/>
            <a:ext cx="9212849" cy="984885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3200" b="1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3CC68A23-E418-487E-BB61-DBF9AB5D5585}"/>
              </a:ext>
            </a:extLst>
          </p:cNvPr>
          <p:cNvSpPr/>
          <p:nvPr userDrawn="1"/>
        </p:nvSpPr>
        <p:spPr>
          <a:xfrm>
            <a:off x="9413269" y="4782085"/>
            <a:ext cx="2503570" cy="2075914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92C11B">
              <a:alpha val="41961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rgbClr val="FFFFFF"/>
              </a:solidFill>
            </a:endParaRPr>
          </a:p>
        </p:txBody>
      </p:sp>
      <p:pic>
        <p:nvPicPr>
          <p:cNvPr id="14" name="Grafik 7">
            <a:extLst>
              <a:ext uri="{FF2B5EF4-FFF2-40B4-BE49-F238E27FC236}">
                <a16:creationId xmlns:a16="http://schemas.microsoft.com/office/drawing/2014/main" id="{47771F56-AB96-4166-9A11-401910BDF52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7897" y="5679467"/>
            <a:ext cx="4310578" cy="721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84017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2" pos="483">
          <p15:clr>
            <a:srgbClr val="A4A3A4"/>
          </p15:clr>
        </p15:guide>
        <p15:guide id="3" orient="horz" pos="754">
          <p15:clr>
            <a:srgbClr val="A4A3A4"/>
          </p15:clr>
        </p15:guide>
        <p15:guide id="4" orient="horz" pos="640">
          <p15:clr>
            <a:srgbClr val="A4A3A4"/>
          </p15:clr>
        </p15:guide>
        <p15:guide id="5" orient="horz" pos="210">
          <p15:clr>
            <a:srgbClr val="A4A3A4"/>
          </p15:clr>
        </p15:guide>
        <p15:guide id="6" pos="7197">
          <p15:clr>
            <a:srgbClr val="A4A3A4"/>
          </p15:clr>
        </p15:guide>
        <p15:guide id="7" orient="horz" pos="4065">
          <p15:clr>
            <a:srgbClr val="A4A3A4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// Bild fix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4FB6EE2C-707F-C44D-8AA5-9E2D85214630}"/>
              </a:ext>
            </a:extLst>
          </p:cNvPr>
          <p:cNvSpPr/>
          <p:nvPr userDrawn="1"/>
        </p:nvSpPr>
        <p:spPr>
          <a:xfrm>
            <a:off x="-2" y="0"/>
            <a:ext cx="12192001" cy="6193111"/>
          </a:xfrm>
          <a:prstGeom prst="rect">
            <a:avLst/>
          </a:prstGeom>
          <a:solidFill>
            <a:srgbClr val="000000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rgbClr val="FFFFFF"/>
              </a:solidFill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7D80E89-247E-A848-AC8E-FD04136F57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2027"/>
          <a:stretch/>
        </p:blipFill>
        <p:spPr>
          <a:xfrm>
            <a:off x="2499308" y="0"/>
            <a:ext cx="7531100" cy="5400942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FD36E87A-29D3-BC47-8370-3C6F038F86FB}"/>
              </a:ext>
            </a:extLst>
          </p:cNvPr>
          <p:cNvGrpSpPr/>
          <p:nvPr userDrawn="1"/>
        </p:nvGrpSpPr>
        <p:grpSpPr>
          <a:xfrm>
            <a:off x="1" y="4109111"/>
            <a:ext cx="12192000" cy="2584735"/>
            <a:chOff x="1" y="4109111"/>
            <a:chExt cx="12192000" cy="2584735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A4D2EE94-2913-F74B-BF74-14EEECDA3E6A}"/>
                </a:ext>
              </a:extLst>
            </p:cNvPr>
            <p:cNvGrpSpPr/>
            <p:nvPr userDrawn="1"/>
          </p:nvGrpSpPr>
          <p:grpSpPr>
            <a:xfrm>
              <a:off x="1" y="4109111"/>
              <a:ext cx="12192000" cy="2156110"/>
              <a:chOff x="-14320" y="4701890"/>
              <a:chExt cx="12206319" cy="2156110"/>
            </a:xfrm>
            <a:solidFill>
              <a:schemeClr val="tx2"/>
            </a:solidFill>
          </p:grpSpPr>
          <p:sp>
            <p:nvSpPr>
              <p:cNvPr id="27" name="Freihandform: Form 36">
                <a:extLst>
                  <a:ext uri="{FF2B5EF4-FFF2-40B4-BE49-F238E27FC236}">
                    <a16:creationId xmlns:a16="http://schemas.microsoft.com/office/drawing/2014/main" id="{77B660CE-0A34-A240-B62F-43519ED186EF}"/>
                  </a:ext>
                </a:extLst>
              </p:cNvPr>
              <p:cNvSpPr/>
              <p:nvPr/>
            </p:nvSpPr>
            <p:spPr>
              <a:xfrm>
                <a:off x="-14320" y="4701890"/>
                <a:ext cx="12206319" cy="1177527"/>
              </a:xfrm>
              <a:custGeom>
                <a:avLst/>
                <a:gdLst>
                  <a:gd name="connsiteX0" fmla="*/ 6984082 w 6984082"/>
                  <a:gd name="connsiteY0" fmla="*/ 0 h 1087864"/>
                  <a:gd name="connsiteX1" fmla="*/ 6984082 w 6984082"/>
                  <a:gd name="connsiteY1" fmla="*/ 537210 h 1087864"/>
                  <a:gd name="connsiteX2" fmla="*/ 6984082 w 6984082"/>
                  <a:gd name="connsiteY2" fmla="*/ 1087864 h 1087864"/>
                  <a:gd name="connsiteX3" fmla="*/ 0 w 6984082"/>
                  <a:gd name="connsiteY3" fmla="*/ 1087864 h 1087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984082" h="1087864">
                    <a:moveTo>
                      <a:pt x="6984082" y="0"/>
                    </a:moveTo>
                    <a:lnTo>
                      <a:pt x="6984082" y="537210"/>
                    </a:lnTo>
                    <a:lnTo>
                      <a:pt x="6984082" y="1087864"/>
                    </a:lnTo>
                    <a:lnTo>
                      <a:pt x="0" y="1087864"/>
                    </a:lnTo>
                    <a:close/>
                  </a:path>
                </a:pathLst>
              </a:custGeom>
              <a:grpFill/>
              <a:ln w="19050" cmpd="sng">
                <a:noFill/>
                <a:prstDash val="dash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ctr" anchorCtr="0">
                <a:noAutofit/>
              </a:bodyPr>
              <a:lstStyle/>
              <a:p>
                <a:pPr algn="ctr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de-DE" sz="14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" name="Freihandform: Form 36">
                <a:extLst>
                  <a:ext uri="{FF2B5EF4-FFF2-40B4-BE49-F238E27FC236}">
                    <a16:creationId xmlns:a16="http://schemas.microsoft.com/office/drawing/2014/main" id="{A4B9466F-338C-094F-940A-E4F8C0FB212E}"/>
                  </a:ext>
                </a:extLst>
              </p:cNvPr>
              <p:cNvSpPr/>
              <p:nvPr/>
            </p:nvSpPr>
            <p:spPr>
              <a:xfrm>
                <a:off x="-14320" y="5950857"/>
                <a:ext cx="12206319" cy="907143"/>
              </a:xfrm>
              <a:prstGeom prst="rect">
                <a:avLst/>
              </a:prstGeom>
              <a:grpFill/>
              <a:ln w="19050" cmpd="sng">
                <a:noFill/>
                <a:prstDash val="dash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ctr" anchorCtr="0">
                <a:noAutofit/>
              </a:bodyPr>
              <a:lstStyle/>
              <a:p>
                <a:pPr algn="ctr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de-DE" sz="1400" b="1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6E1FC518-7A43-5B4E-ACD6-904D7BF83146}"/>
                </a:ext>
              </a:extLst>
            </p:cNvPr>
            <p:cNvGrpSpPr/>
            <p:nvPr userDrawn="1"/>
          </p:nvGrpSpPr>
          <p:grpSpPr>
            <a:xfrm>
              <a:off x="1" y="5286638"/>
              <a:ext cx="12192000" cy="1407208"/>
              <a:chOff x="-14320" y="4701890"/>
              <a:chExt cx="12206319" cy="2156110"/>
            </a:xfrm>
            <a:solidFill>
              <a:schemeClr val="tx2"/>
            </a:solidFill>
          </p:grpSpPr>
          <p:sp>
            <p:nvSpPr>
              <p:cNvPr id="25" name="Freihandform: Form 36">
                <a:extLst>
                  <a:ext uri="{FF2B5EF4-FFF2-40B4-BE49-F238E27FC236}">
                    <a16:creationId xmlns:a16="http://schemas.microsoft.com/office/drawing/2014/main" id="{E8B85861-FFF2-9044-AB3C-0431F4DAD23B}"/>
                  </a:ext>
                </a:extLst>
              </p:cNvPr>
              <p:cNvSpPr/>
              <p:nvPr/>
            </p:nvSpPr>
            <p:spPr>
              <a:xfrm>
                <a:off x="-14320" y="4701890"/>
                <a:ext cx="12206319" cy="1177527"/>
              </a:xfrm>
              <a:prstGeom prst="rect">
                <a:avLst/>
              </a:prstGeom>
              <a:grpFill/>
              <a:ln w="19050" cmpd="sng">
                <a:noFill/>
                <a:prstDash val="dash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ctr" anchorCtr="0">
                <a:noAutofit/>
              </a:bodyPr>
              <a:lstStyle/>
              <a:p>
                <a:pPr algn="ctr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de-DE" sz="14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" name="Freihandform: Form 36">
                <a:extLst>
                  <a:ext uri="{FF2B5EF4-FFF2-40B4-BE49-F238E27FC236}">
                    <a16:creationId xmlns:a16="http://schemas.microsoft.com/office/drawing/2014/main" id="{39254663-6158-6A45-AE29-7268EB9EC89A}"/>
                  </a:ext>
                </a:extLst>
              </p:cNvPr>
              <p:cNvSpPr/>
              <p:nvPr/>
            </p:nvSpPr>
            <p:spPr>
              <a:xfrm>
                <a:off x="-14320" y="5950857"/>
                <a:ext cx="12206319" cy="907143"/>
              </a:xfrm>
              <a:prstGeom prst="rect">
                <a:avLst/>
              </a:prstGeom>
              <a:grpFill/>
              <a:ln w="19050" cmpd="sng">
                <a:noFill/>
                <a:prstDash val="dash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ctr" anchorCtr="0">
                <a:noAutofit/>
              </a:bodyPr>
              <a:lstStyle/>
              <a:p>
                <a:pPr algn="ctr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de-DE" sz="1400" b="1" dirty="0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A0779EA-D713-DD4F-80D4-8D599941F06A}"/>
              </a:ext>
            </a:extLst>
          </p:cNvPr>
          <p:cNvGrpSpPr/>
          <p:nvPr userDrawn="1"/>
        </p:nvGrpSpPr>
        <p:grpSpPr>
          <a:xfrm>
            <a:off x="1" y="4180551"/>
            <a:ext cx="12192000" cy="2084670"/>
            <a:chOff x="-14320" y="4773330"/>
            <a:chExt cx="12206319" cy="2084670"/>
          </a:xfrm>
          <a:solidFill>
            <a:schemeClr val="tx2"/>
          </a:solidFill>
        </p:grpSpPr>
        <p:sp>
          <p:nvSpPr>
            <p:cNvPr id="15" name="Freihandform: Form 36">
              <a:extLst>
                <a:ext uri="{FF2B5EF4-FFF2-40B4-BE49-F238E27FC236}">
                  <a16:creationId xmlns:a16="http://schemas.microsoft.com/office/drawing/2014/main" id="{6B81F7C2-50E7-D648-A1CA-DE8AF9652D34}"/>
                </a:ext>
              </a:extLst>
            </p:cNvPr>
            <p:cNvSpPr/>
            <p:nvPr/>
          </p:nvSpPr>
          <p:spPr>
            <a:xfrm>
              <a:off x="-14320" y="4773330"/>
              <a:ext cx="12206319" cy="1177527"/>
            </a:xfrm>
            <a:custGeom>
              <a:avLst/>
              <a:gdLst>
                <a:gd name="connsiteX0" fmla="*/ 6984082 w 6984082"/>
                <a:gd name="connsiteY0" fmla="*/ 0 h 1087864"/>
                <a:gd name="connsiteX1" fmla="*/ 6984082 w 6984082"/>
                <a:gd name="connsiteY1" fmla="*/ 537210 h 1087864"/>
                <a:gd name="connsiteX2" fmla="*/ 6984082 w 6984082"/>
                <a:gd name="connsiteY2" fmla="*/ 1087864 h 1087864"/>
                <a:gd name="connsiteX3" fmla="*/ 0 w 6984082"/>
                <a:gd name="connsiteY3" fmla="*/ 1087864 h 108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4082" h="1087864">
                  <a:moveTo>
                    <a:pt x="6984082" y="0"/>
                  </a:moveTo>
                  <a:lnTo>
                    <a:pt x="6984082" y="537210"/>
                  </a:lnTo>
                  <a:lnTo>
                    <a:pt x="6984082" y="1087864"/>
                  </a:lnTo>
                  <a:lnTo>
                    <a:pt x="0" y="108786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6" name="Freihandform: Form 36">
              <a:extLst>
                <a:ext uri="{FF2B5EF4-FFF2-40B4-BE49-F238E27FC236}">
                  <a16:creationId xmlns:a16="http://schemas.microsoft.com/office/drawing/2014/main" id="{15DF55AD-F834-9347-9E93-6BEEA3FBCAB3}"/>
                </a:ext>
              </a:extLst>
            </p:cNvPr>
            <p:cNvSpPr/>
            <p:nvPr/>
          </p:nvSpPr>
          <p:spPr>
            <a:xfrm>
              <a:off x="-14320" y="5950857"/>
              <a:ext cx="12206319" cy="907143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</p:grp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46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de-DE" sz="4800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1587030"/>
            <a:ext cx="7856911" cy="1477328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48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6F3D174-89D1-411B-90BD-5D8D57671A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1" y="3375890"/>
            <a:ext cx="9212849" cy="984885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3200" b="1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Freeform 18">
            <a:extLst>
              <a:ext uri="{FF2B5EF4-FFF2-40B4-BE49-F238E27FC236}">
                <a16:creationId xmlns:a16="http://schemas.microsoft.com/office/drawing/2014/main" id="{3CC68A23-E418-487E-BB61-DBF9AB5D5585}"/>
              </a:ext>
            </a:extLst>
          </p:cNvPr>
          <p:cNvSpPr/>
          <p:nvPr userDrawn="1"/>
        </p:nvSpPr>
        <p:spPr>
          <a:xfrm>
            <a:off x="9413269" y="4782085"/>
            <a:ext cx="2503570" cy="2075914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92C11B">
              <a:alpha val="41961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rgbClr val="FFFFFF"/>
              </a:solidFill>
            </a:endParaRPr>
          </a:p>
        </p:txBody>
      </p:sp>
      <p:pic>
        <p:nvPicPr>
          <p:cNvPr id="14" name="Grafik 7">
            <a:extLst>
              <a:ext uri="{FF2B5EF4-FFF2-40B4-BE49-F238E27FC236}">
                <a16:creationId xmlns:a16="http://schemas.microsoft.com/office/drawing/2014/main" id="{47771F56-AB96-4166-9A11-401910BDF52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7897" y="5679467"/>
            <a:ext cx="4310578" cy="721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83043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2" pos="483">
          <p15:clr>
            <a:srgbClr val="A4A3A4"/>
          </p15:clr>
        </p15:guide>
        <p15:guide id="3" orient="horz" pos="754">
          <p15:clr>
            <a:srgbClr val="A4A3A4"/>
          </p15:clr>
        </p15:guide>
        <p15:guide id="4" orient="horz" pos="640">
          <p15:clr>
            <a:srgbClr val="A4A3A4"/>
          </p15:clr>
        </p15:guide>
        <p15:guide id="5" orient="horz" pos="210">
          <p15:clr>
            <a:srgbClr val="A4A3A4"/>
          </p15:clr>
        </p15:guide>
        <p15:guide id="6" pos="7197">
          <p15:clr>
            <a:srgbClr val="A4A3A4"/>
          </p15:clr>
        </p15:guide>
        <p15:guide id="7" orient="horz" pos="4065">
          <p15:clr>
            <a:srgbClr val="A4A3A4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// 1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7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8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0E83E4A-9A3D-4624-A632-4365CC9008C6}"/>
              </a:ext>
            </a:extLst>
          </p:cNvPr>
          <p:cNvGrpSpPr/>
          <p:nvPr userDrawn="1"/>
        </p:nvGrpSpPr>
        <p:grpSpPr>
          <a:xfrm>
            <a:off x="-14320" y="4523949"/>
            <a:ext cx="12206319" cy="2084670"/>
            <a:chOff x="-14320" y="4773330"/>
            <a:chExt cx="12206319" cy="2084670"/>
          </a:xfrm>
          <a:solidFill>
            <a:schemeClr val="bg1"/>
          </a:solidFill>
        </p:grpSpPr>
        <p:sp>
          <p:nvSpPr>
            <p:cNvPr id="12" name="Freihandform: Form 36">
              <a:extLst>
                <a:ext uri="{FF2B5EF4-FFF2-40B4-BE49-F238E27FC236}">
                  <a16:creationId xmlns:a16="http://schemas.microsoft.com/office/drawing/2014/main" id="{0CCDEB08-509C-412A-B334-886FA8CA4A53}"/>
                </a:ext>
              </a:extLst>
            </p:cNvPr>
            <p:cNvSpPr/>
            <p:nvPr/>
          </p:nvSpPr>
          <p:spPr>
            <a:xfrm>
              <a:off x="-14320" y="4773330"/>
              <a:ext cx="12206319" cy="1177527"/>
            </a:xfrm>
            <a:custGeom>
              <a:avLst/>
              <a:gdLst>
                <a:gd name="connsiteX0" fmla="*/ 6984082 w 6984082"/>
                <a:gd name="connsiteY0" fmla="*/ 0 h 1087864"/>
                <a:gd name="connsiteX1" fmla="*/ 6984082 w 6984082"/>
                <a:gd name="connsiteY1" fmla="*/ 537210 h 1087864"/>
                <a:gd name="connsiteX2" fmla="*/ 6984082 w 6984082"/>
                <a:gd name="connsiteY2" fmla="*/ 1087864 h 1087864"/>
                <a:gd name="connsiteX3" fmla="*/ 0 w 6984082"/>
                <a:gd name="connsiteY3" fmla="*/ 1087864 h 108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4082" h="1087864">
                  <a:moveTo>
                    <a:pt x="6984082" y="0"/>
                  </a:moveTo>
                  <a:lnTo>
                    <a:pt x="6984082" y="537210"/>
                  </a:lnTo>
                  <a:lnTo>
                    <a:pt x="6984082" y="1087864"/>
                  </a:lnTo>
                  <a:lnTo>
                    <a:pt x="0" y="108786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3" name="Freihandform: Form 36">
              <a:extLst>
                <a:ext uri="{FF2B5EF4-FFF2-40B4-BE49-F238E27FC236}">
                  <a16:creationId xmlns:a16="http://schemas.microsoft.com/office/drawing/2014/main" id="{5F6B9C06-4759-4BDD-8A87-6A0B93D8BF27}"/>
                </a:ext>
              </a:extLst>
            </p:cNvPr>
            <p:cNvSpPr/>
            <p:nvPr/>
          </p:nvSpPr>
          <p:spPr>
            <a:xfrm>
              <a:off x="-14320" y="5950857"/>
              <a:ext cx="12206319" cy="907143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7B158FD-BC8B-4BD7-B30C-33155EC07E27}"/>
              </a:ext>
            </a:extLst>
          </p:cNvPr>
          <p:cNvGrpSpPr/>
          <p:nvPr userDrawn="1"/>
        </p:nvGrpSpPr>
        <p:grpSpPr>
          <a:xfrm>
            <a:off x="-14320" y="4773330"/>
            <a:ext cx="12206319" cy="2084670"/>
            <a:chOff x="-14320" y="4773330"/>
            <a:chExt cx="12206319" cy="2084670"/>
          </a:xfrm>
          <a:solidFill>
            <a:schemeClr val="tx1"/>
          </a:solidFill>
        </p:grpSpPr>
        <p:sp>
          <p:nvSpPr>
            <p:cNvPr id="18" name="Freihandform: Form 36">
              <a:extLst>
                <a:ext uri="{FF2B5EF4-FFF2-40B4-BE49-F238E27FC236}">
                  <a16:creationId xmlns:a16="http://schemas.microsoft.com/office/drawing/2014/main" id="{276FF15F-79EA-48EF-AB19-8EF5B83AA268}"/>
                </a:ext>
              </a:extLst>
            </p:cNvPr>
            <p:cNvSpPr/>
            <p:nvPr/>
          </p:nvSpPr>
          <p:spPr>
            <a:xfrm>
              <a:off x="-14320" y="4773330"/>
              <a:ext cx="12206319" cy="1177527"/>
            </a:xfrm>
            <a:custGeom>
              <a:avLst/>
              <a:gdLst>
                <a:gd name="connsiteX0" fmla="*/ 6984082 w 6984082"/>
                <a:gd name="connsiteY0" fmla="*/ 0 h 1087864"/>
                <a:gd name="connsiteX1" fmla="*/ 6984082 w 6984082"/>
                <a:gd name="connsiteY1" fmla="*/ 537210 h 1087864"/>
                <a:gd name="connsiteX2" fmla="*/ 6984082 w 6984082"/>
                <a:gd name="connsiteY2" fmla="*/ 1087864 h 1087864"/>
                <a:gd name="connsiteX3" fmla="*/ 0 w 6984082"/>
                <a:gd name="connsiteY3" fmla="*/ 1087864 h 108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4082" h="1087864">
                  <a:moveTo>
                    <a:pt x="6984082" y="0"/>
                  </a:moveTo>
                  <a:lnTo>
                    <a:pt x="6984082" y="537210"/>
                  </a:lnTo>
                  <a:lnTo>
                    <a:pt x="6984082" y="1087864"/>
                  </a:lnTo>
                  <a:lnTo>
                    <a:pt x="0" y="108786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9" name="Freihandform: Form 36">
              <a:extLst>
                <a:ext uri="{FF2B5EF4-FFF2-40B4-BE49-F238E27FC236}">
                  <a16:creationId xmlns:a16="http://schemas.microsoft.com/office/drawing/2014/main" id="{EE10ADC2-F397-424B-A593-F7D24FE8F642}"/>
                </a:ext>
              </a:extLst>
            </p:cNvPr>
            <p:cNvSpPr/>
            <p:nvPr/>
          </p:nvSpPr>
          <p:spPr>
            <a:xfrm>
              <a:off x="-14320" y="5950857"/>
              <a:ext cx="12206319" cy="907143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20" name="Freeform 27">
            <a:extLst>
              <a:ext uri="{FF2B5EF4-FFF2-40B4-BE49-F238E27FC236}">
                <a16:creationId xmlns:a16="http://schemas.microsoft.com/office/drawing/2014/main" id="{F99D45B5-30C5-4D8C-AD9A-57761B90366A}"/>
              </a:ext>
            </a:extLst>
          </p:cNvPr>
          <p:cNvSpPr/>
          <p:nvPr userDrawn="1"/>
        </p:nvSpPr>
        <p:spPr>
          <a:xfrm>
            <a:off x="9950300" y="5187321"/>
            <a:ext cx="2014480" cy="1670373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rgbClr val="FFFFFF"/>
              </a:solidFill>
            </a:endParaRPr>
          </a:p>
        </p:txBody>
      </p:sp>
      <p:pic>
        <p:nvPicPr>
          <p:cNvPr id="21" name="Grafik 7">
            <a:extLst>
              <a:ext uri="{FF2B5EF4-FFF2-40B4-BE49-F238E27FC236}">
                <a16:creationId xmlns:a16="http://schemas.microsoft.com/office/drawing/2014/main" id="{ABC8BF24-69D2-4ED3-A927-999B8112752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55612" y="5849915"/>
            <a:ext cx="2676530" cy="448275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69500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8B7D36-4FC7-458A-91CB-590EC03755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333692"/>
            <a:ext cx="6950075" cy="680356"/>
          </a:xfrm>
        </p:spPr>
        <p:txBody>
          <a:bodyPr/>
          <a:lstStyle>
            <a:lvl1pPr>
              <a:defRPr sz="2800"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01044316-A55F-4672-890E-8E36CD55FAD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967663" y="333692"/>
            <a:ext cx="4224337" cy="4614736"/>
          </a:xfrm>
          <a:custGeom>
            <a:avLst/>
            <a:gdLst>
              <a:gd name="connsiteX0" fmla="*/ 0 w 4224337"/>
              <a:gd name="connsiteY0" fmla="*/ 0 h 4614736"/>
              <a:gd name="connsiteX1" fmla="*/ 4224337 w 4224337"/>
              <a:gd name="connsiteY1" fmla="*/ 0 h 4614736"/>
              <a:gd name="connsiteX2" fmla="*/ 4224337 w 4224337"/>
              <a:gd name="connsiteY2" fmla="*/ 4206741 h 4614736"/>
              <a:gd name="connsiteX3" fmla="*/ 0 w 4224337"/>
              <a:gd name="connsiteY3" fmla="*/ 4614736 h 4614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4337" h="4614736">
                <a:moveTo>
                  <a:pt x="0" y="0"/>
                </a:moveTo>
                <a:lnTo>
                  <a:pt x="4224337" y="0"/>
                </a:lnTo>
                <a:lnTo>
                  <a:pt x="4224337" y="4206741"/>
                </a:lnTo>
                <a:lnTo>
                  <a:pt x="0" y="461473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466707-4BCC-41E0-BEB4-0622C3F345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3" y="2039265"/>
            <a:ext cx="6842125" cy="2357331"/>
          </a:xfrm>
        </p:spPr>
        <p:txBody>
          <a:bodyPr anchor="ctr">
            <a:normAutofit/>
          </a:bodyPr>
          <a:lstStyle>
            <a:lvl1pPr marL="457200" indent="-457200">
              <a:buFont typeface="+mj-lt"/>
              <a:buAutoNum type="arabicPeriod"/>
              <a:defRPr sz="2400" baseline="0"/>
            </a:lvl1pPr>
            <a:lvl2pPr marL="358775" indent="0">
              <a:buFont typeface="+mj-lt"/>
              <a:buNone/>
              <a:defRPr sz="2400"/>
            </a:lvl2pPr>
            <a:lvl3pPr marL="457200" indent="-457200">
              <a:buFont typeface="+mj-lt"/>
              <a:buAutoNum type="arabicPeriod"/>
              <a:defRPr sz="2400"/>
            </a:lvl3pPr>
            <a:lvl4pPr marL="457200" indent="-457200">
              <a:buFont typeface="+mj-lt"/>
              <a:buAutoNum type="arabicPeriod"/>
              <a:defRPr sz="2400"/>
            </a:lvl4pPr>
            <a:lvl5pPr marL="457200" indent="-457200">
              <a:buFont typeface="+mj-lt"/>
              <a:buAutoNum type="arabicPeriod"/>
              <a:defRPr sz="2400"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002305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// 2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9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8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6B70AA37-E0FC-4DDD-83BC-51CD76943BD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967663" y="1760434"/>
            <a:ext cx="4224337" cy="3187994"/>
          </a:xfrm>
          <a:custGeom>
            <a:avLst/>
            <a:gdLst>
              <a:gd name="connsiteX0" fmla="*/ 4224337 w 4224337"/>
              <a:gd name="connsiteY0" fmla="*/ 0 h 3187994"/>
              <a:gd name="connsiteX1" fmla="*/ 4224337 w 4224337"/>
              <a:gd name="connsiteY1" fmla="*/ 2779999 h 3187994"/>
              <a:gd name="connsiteX2" fmla="*/ 0 w 4224337"/>
              <a:gd name="connsiteY2" fmla="*/ 3187994 h 3187994"/>
              <a:gd name="connsiteX3" fmla="*/ 0 w 4224337"/>
              <a:gd name="connsiteY3" fmla="*/ 407995 h 3187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4337" h="3187994">
                <a:moveTo>
                  <a:pt x="4224337" y="0"/>
                </a:moveTo>
                <a:lnTo>
                  <a:pt x="4224337" y="2779999"/>
                </a:lnTo>
                <a:lnTo>
                  <a:pt x="0" y="3187994"/>
                </a:lnTo>
                <a:lnTo>
                  <a:pt x="0" y="40799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13FAB4FD-6DEF-43B5-849A-C9540A5EA47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967663" y="333693"/>
            <a:ext cx="4224337" cy="1556209"/>
          </a:xfrm>
          <a:custGeom>
            <a:avLst/>
            <a:gdLst>
              <a:gd name="connsiteX0" fmla="*/ 0 w 4224337"/>
              <a:gd name="connsiteY0" fmla="*/ 0 h 1556209"/>
              <a:gd name="connsiteX1" fmla="*/ 4224337 w 4224337"/>
              <a:gd name="connsiteY1" fmla="*/ 0 h 1556209"/>
              <a:gd name="connsiteX2" fmla="*/ 4224337 w 4224337"/>
              <a:gd name="connsiteY2" fmla="*/ 1148214 h 1556209"/>
              <a:gd name="connsiteX3" fmla="*/ 0 w 4224337"/>
              <a:gd name="connsiteY3" fmla="*/ 1556209 h 1556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4337" h="1556209">
                <a:moveTo>
                  <a:pt x="0" y="0"/>
                </a:moveTo>
                <a:lnTo>
                  <a:pt x="4224337" y="0"/>
                </a:lnTo>
                <a:lnTo>
                  <a:pt x="4224337" y="1148214"/>
                </a:lnTo>
                <a:lnTo>
                  <a:pt x="0" y="1556209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0E83E4A-9A3D-4624-A632-4365CC9008C6}"/>
              </a:ext>
            </a:extLst>
          </p:cNvPr>
          <p:cNvGrpSpPr/>
          <p:nvPr userDrawn="1"/>
        </p:nvGrpSpPr>
        <p:grpSpPr>
          <a:xfrm>
            <a:off x="-14320" y="4523949"/>
            <a:ext cx="12206319" cy="2084670"/>
            <a:chOff x="-14320" y="4773330"/>
            <a:chExt cx="12206319" cy="2084670"/>
          </a:xfrm>
          <a:solidFill>
            <a:schemeClr val="bg1"/>
          </a:solidFill>
        </p:grpSpPr>
        <p:sp>
          <p:nvSpPr>
            <p:cNvPr id="12" name="Freihandform: Form 36">
              <a:extLst>
                <a:ext uri="{FF2B5EF4-FFF2-40B4-BE49-F238E27FC236}">
                  <a16:creationId xmlns:a16="http://schemas.microsoft.com/office/drawing/2014/main" id="{0CCDEB08-509C-412A-B334-886FA8CA4A53}"/>
                </a:ext>
              </a:extLst>
            </p:cNvPr>
            <p:cNvSpPr/>
            <p:nvPr/>
          </p:nvSpPr>
          <p:spPr>
            <a:xfrm>
              <a:off x="-14320" y="4773330"/>
              <a:ext cx="12206319" cy="1177527"/>
            </a:xfrm>
            <a:custGeom>
              <a:avLst/>
              <a:gdLst>
                <a:gd name="connsiteX0" fmla="*/ 6984082 w 6984082"/>
                <a:gd name="connsiteY0" fmla="*/ 0 h 1087864"/>
                <a:gd name="connsiteX1" fmla="*/ 6984082 w 6984082"/>
                <a:gd name="connsiteY1" fmla="*/ 537210 h 1087864"/>
                <a:gd name="connsiteX2" fmla="*/ 6984082 w 6984082"/>
                <a:gd name="connsiteY2" fmla="*/ 1087864 h 1087864"/>
                <a:gd name="connsiteX3" fmla="*/ 0 w 6984082"/>
                <a:gd name="connsiteY3" fmla="*/ 1087864 h 108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4082" h="1087864">
                  <a:moveTo>
                    <a:pt x="6984082" y="0"/>
                  </a:moveTo>
                  <a:lnTo>
                    <a:pt x="6984082" y="537210"/>
                  </a:lnTo>
                  <a:lnTo>
                    <a:pt x="6984082" y="1087864"/>
                  </a:lnTo>
                  <a:lnTo>
                    <a:pt x="0" y="108786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3" name="Freihandform: Form 36">
              <a:extLst>
                <a:ext uri="{FF2B5EF4-FFF2-40B4-BE49-F238E27FC236}">
                  <a16:creationId xmlns:a16="http://schemas.microsoft.com/office/drawing/2014/main" id="{5F6B9C06-4759-4BDD-8A87-6A0B93D8BF27}"/>
                </a:ext>
              </a:extLst>
            </p:cNvPr>
            <p:cNvSpPr/>
            <p:nvPr/>
          </p:nvSpPr>
          <p:spPr>
            <a:xfrm>
              <a:off x="-14320" y="5950857"/>
              <a:ext cx="12206319" cy="907143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7B158FD-BC8B-4BD7-B30C-33155EC07E27}"/>
              </a:ext>
            </a:extLst>
          </p:cNvPr>
          <p:cNvGrpSpPr/>
          <p:nvPr userDrawn="1"/>
        </p:nvGrpSpPr>
        <p:grpSpPr>
          <a:xfrm>
            <a:off x="-14320" y="4773330"/>
            <a:ext cx="12206319" cy="2084670"/>
            <a:chOff x="-14320" y="4773330"/>
            <a:chExt cx="12206319" cy="2084670"/>
          </a:xfrm>
          <a:solidFill>
            <a:schemeClr val="tx1"/>
          </a:solidFill>
        </p:grpSpPr>
        <p:sp>
          <p:nvSpPr>
            <p:cNvPr id="18" name="Freihandform: Form 36">
              <a:extLst>
                <a:ext uri="{FF2B5EF4-FFF2-40B4-BE49-F238E27FC236}">
                  <a16:creationId xmlns:a16="http://schemas.microsoft.com/office/drawing/2014/main" id="{276FF15F-79EA-48EF-AB19-8EF5B83AA268}"/>
                </a:ext>
              </a:extLst>
            </p:cNvPr>
            <p:cNvSpPr/>
            <p:nvPr/>
          </p:nvSpPr>
          <p:spPr>
            <a:xfrm>
              <a:off x="-14320" y="4773330"/>
              <a:ext cx="12206319" cy="1177527"/>
            </a:xfrm>
            <a:custGeom>
              <a:avLst/>
              <a:gdLst>
                <a:gd name="connsiteX0" fmla="*/ 6984082 w 6984082"/>
                <a:gd name="connsiteY0" fmla="*/ 0 h 1087864"/>
                <a:gd name="connsiteX1" fmla="*/ 6984082 w 6984082"/>
                <a:gd name="connsiteY1" fmla="*/ 537210 h 1087864"/>
                <a:gd name="connsiteX2" fmla="*/ 6984082 w 6984082"/>
                <a:gd name="connsiteY2" fmla="*/ 1087864 h 1087864"/>
                <a:gd name="connsiteX3" fmla="*/ 0 w 6984082"/>
                <a:gd name="connsiteY3" fmla="*/ 1087864 h 108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4082" h="1087864">
                  <a:moveTo>
                    <a:pt x="6984082" y="0"/>
                  </a:moveTo>
                  <a:lnTo>
                    <a:pt x="6984082" y="537210"/>
                  </a:lnTo>
                  <a:lnTo>
                    <a:pt x="6984082" y="1087864"/>
                  </a:lnTo>
                  <a:lnTo>
                    <a:pt x="0" y="1087864"/>
                  </a:lnTo>
                  <a:close/>
                </a:path>
              </a:pathLst>
            </a:cu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9" name="Freihandform: Form 36">
              <a:extLst>
                <a:ext uri="{FF2B5EF4-FFF2-40B4-BE49-F238E27FC236}">
                  <a16:creationId xmlns:a16="http://schemas.microsoft.com/office/drawing/2014/main" id="{EE10ADC2-F397-424B-A593-F7D24FE8F642}"/>
                </a:ext>
              </a:extLst>
            </p:cNvPr>
            <p:cNvSpPr/>
            <p:nvPr/>
          </p:nvSpPr>
          <p:spPr>
            <a:xfrm>
              <a:off x="-14320" y="5950857"/>
              <a:ext cx="12206319" cy="907143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20" name="Freeform 27">
            <a:extLst>
              <a:ext uri="{FF2B5EF4-FFF2-40B4-BE49-F238E27FC236}">
                <a16:creationId xmlns:a16="http://schemas.microsoft.com/office/drawing/2014/main" id="{F99D45B5-30C5-4D8C-AD9A-57761B90366A}"/>
              </a:ext>
            </a:extLst>
          </p:cNvPr>
          <p:cNvSpPr/>
          <p:nvPr userDrawn="1"/>
        </p:nvSpPr>
        <p:spPr>
          <a:xfrm>
            <a:off x="9950300" y="5187321"/>
            <a:ext cx="2014480" cy="1670373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rgbClr val="696969">
              <a:alpha val="41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rgbClr val="FFFFFF"/>
              </a:solidFill>
            </a:endParaRPr>
          </a:p>
        </p:txBody>
      </p:sp>
      <p:pic>
        <p:nvPicPr>
          <p:cNvPr id="21" name="Grafik 7">
            <a:extLst>
              <a:ext uri="{FF2B5EF4-FFF2-40B4-BE49-F238E27FC236}">
                <a16:creationId xmlns:a16="http://schemas.microsoft.com/office/drawing/2014/main" id="{ABC8BF24-69D2-4ED3-A927-999B8112752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55612" y="5849915"/>
            <a:ext cx="2676530" cy="448275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766763" y="333375"/>
            <a:ext cx="6950075" cy="680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8B7D36-4FC7-458A-91CB-590EC03755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333692"/>
            <a:ext cx="6950075" cy="680356"/>
          </a:xfrm>
        </p:spPr>
        <p:txBody>
          <a:bodyPr/>
          <a:lstStyle>
            <a:lvl1pPr>
              <a:defRPr sz="2800"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D7D596-D1CF-4EF3-95FC-D084A0D2F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64D08D-4E02-4168-8032-34CD16A2B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Abteilung | Verfasser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466707-4BCC-41E0-BEB4-0622C3F345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3" y="3033264"/>
            <a:ext cx="6842125" cy="369332"/>
          </a:xfrm>
        </p:spPr>
        <p:txBody>
          <a:bodyPr anchor="ctr">
            <a:spAutoFit/>
          </a:bodyPr>
          <a:lstStyle>
            <a:lvl1pPr marL="457200" indent="-457200">
              <a:buFont typeface="+mj-lt"/>
              <a:buAutoNum type="arabicPeriod"/>
              <a:defRPr sz="2400" baseline="0"/>
            </a:lvl1pPr>
            <a:lvl2pPr marL="358775" indent="0">
              <a:buFont typeface="+mj-lt"/>
              <a:buNone/>
              <a:defRPr sz="2400"/>
            </a:lvl2pPr>
            <a:lvl3pPr marL="457200" indent="-457200">
              <a:buFont typeface="+mj-lt"/>
              <a:buAutoNum type="arabicPeriod"/>
              <a:defRPr sz="2400"/>
            </a:lvl3pPr>
            <a:lvl4pPr marL="457200" indent="-457200">
              <a:buFont typeface="+mj-lt"/>
              <a:buAutoNum type="arabicPeriod"/>
              <a:defRPr sz="2400"/>
            </a:lvl4pPr>
            <a:lvl5pPr marL="457200" indent="-457200">
              <a:buFont typeface="+mj-lt"/>
              <a:buAutoNum type="arabicPeriod"/>
              <a:defRPr sz="2400"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833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// F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de-DE" sz="32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2" name="Rechteck 9">
            <a:extLst>
              <a:ext uri="{FF2B5EF4-FFF2-40B4-BE49-F238E27FC236}">
                <a16:creationId xmlns:a16="http://schemas.microsoft.com/office/drawing/2014/main" id="{FAF66208-BE51-4383-B61E-7C1B1F88E877}"/>
              </a:ext>
            </a:extLst>
          </p:cNvPr>
          <p:cNvSpPr/>
          <p:nvPr userDrawn="1"/>
        </p:nvSpPr>
        <p:spPr>
          <a:xfrm>
            <a:off x="353291" y="336550"/>
            <a:ext cx="11485419" cy="618807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lang="de-DE" kern="0" dirty="0">
              <a:solidFill>
                <a:srgbClr val="FFFFFF"/>
              </a:solidFill>
              <a:latin typeface="Arial Regular"/>
            </a:endParaRPr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563CB5D8-D2C9-495A-93FD-C17AF9B306F0}"/>
              </a:ext>
            </a:extLst>
          </p:cNvPr>
          <p:cNvSpPr/>
          <p:nvPr userDrawn="1"/>
        </p:nvSpPr>
        <p:spPr>
          <a:xfrm>
            <a:off x="8475451" y="3886646"/>
            <a:ext cx="3194306" cy="2648659"/>
          </a:xfrm>
          <a:custGeom>
            <a:avLst/>
            <a:gdLst>
              <a:gd name="connsiteX0" fmla="*/ 864062 w 1541024"/>
              <a:gd name="connsiteY0" fmla="*/ 659654 h 1277788"/>
              <a:gd name="connsiteX1" fmla="*/ 864062 w 1541024"/>
              <a:gd name="connsiteY1" fmla="*/ 860395 h 1277788"/>
              <a:gd name="connsiteX2" fmla="*/ 1193557 w 1541024"/>
              <a:gd name="connsiteY2" fmla="*/ 1277788 h 1277788"/>
              <a:gd name="connsiteX3" fmla="*/ 1023322 w 1541024"/>
              <a:gd name="connsiteY3" fmla="*/ 1277788 h 1277788"/>
              <a:gd name="connsiteX4" fmla="*/ 772730 w 1541024"/>
              <a:gd name="connsiteY4" fmla="*/ 969628 h 1277788"/>
              <a:gd name="connsiteX5" fmla="*/ 515072 w 1541024"/>
              <a:gd name="connsiteY5" fmla="*/ 1277788 h 1277788"/>
              <a:gd name="connsiteX6" fmla="*/ 348481 w 1541024"/>
              <a:gd name="connsiteY6" fmla="*/ 1277788 h 1277788"/>
              <a:gd name="connsiteX7" fmla="*/ 73767 w 1541024"/>
              <a:gd name="connsiteY7" fmla="*/ 110090 h 1277788"/>
              <a:gd name="connsiteX8" fmla="*/ 120468 w 1541024"/>
              <a:gd name="connsiteY8" fmla="*/ 110090 h 1277788"/>
              <a:gd name="connsiteX9" fmla="*/ 197147 w 1541024"/>
              <a:gd name="connsiteY9" fmla="*/ 110090 h 1277788"/>
              <a:gd name="connsiteX10" fmla="*/ 243848 w 1541024"/>
              <a:gd name="connsiteY10" fmla="*/ 110090 h 1277788"/>
              <a:gd name="connsiteX11" fmla="*/ 604999 w 1541024"/>
              <a:gd name="connsiteY11" fmla="*/ 554209 h 1277788"/>
              <a:gd name="connsiteX12" fmla="*/ 606639 w 1541024"/>
              <a:gd name="connsiteY12" fmla="*/ 552248 h 1277788"/>
              <a:gd name="connsiteX13" fmla="*/ 606639 w 1541024"/>
              <a:gd name="connsiteY13" fmla="*/ 556799 h 1277788"/>
              <a:gd name="connsiteX14" fmla="*/ 785619 w 1541024"/>
              <a:gd name="connsiteY14" fmla="*/ 556799 h 1277788"/>
              <a:gd name="connsiteX15" fmla="*/ 178537 w 1541024"/>
              <a:gd name="connsiteY15" fmla="*/ 1277788 h 1277788"/>
              <a:gd name="connsiteX16" fmla="*/ 0 w 1541024"/>
              <a:gd name="connsiteY16" fmla="*/ 1277788 h 1277788"/>
              <a:gd name="connsiteX17" fmla="*/ 518776 w 1541024"/>
              <a:gd name="connsiteY17" fmla="*/ 657332 h 1277788"/>
              <a:gd name="connsiteX18" fmla="*/ 1254950 w 1541024"/>
              <a:gd name="connsiteY18" fmla="*/ 0 h 1277788"/>
              <a:gd name="connsiteX19" fmla="*/ 1540882 w 1541024"/>
              <a:gd name="connsiteY19" fmla="*/ 1617 h 1277788"/>
              <a:gd name="connsiteX20" fmla="*/ 1540882 w 1541024"/>
              <a:gd name="connsiteY20" fmla="*/ 248990 h 1277788"/>
              <a:gd name="connsiteX21" fmla="*/ 1430167 w 1541024"/>
              <a:gd name="connsiteY21" fmla="*/ 382287 h 1277788"/>
              <a:gd name="connsiteX22" fmla="*/ 1430889 w 1541024"/>
              <a:gd name="connsiteY22" fmla="*/ 183643 h 1277788"/>
              <a:gd name="connsiteX23" fmla="*/ 971851 w 1541024"/>
              <a:gd name="connsiteY23" fmla="*/ 743721 h 1277788"/>
              <a:gd name="connsiteX24" fmla="*/ 969253 w 1541024"/>
              <a:gd name="connsiteY24" fmla="*/ 338709 h 1277788"/>
              <a:gd name="connsiteX25" fmla="*/ 869321 w 1541024"/>
              <a:gd name="connsiteY25" fmla="*/ 460763 h 1277788"/>
              <a:gd name="connsiteX26" fmla="*/ 701714 w 1541024"/>
              <a:gd name="connsiteY26" fmla="*/ 457588 h 1277788"/>
              <a:gd name="connsiteX27" fmla="*/ 850362 w 1541024"/>
              <a:gd name="connsiteY27" fmla="*/ 260755 h 1277788"/>
              <a:gd name="connsiteX28" fmla="*/ 696283 w 1541024"/>
              <a:gd name="connsiteY28" fmla="*/ 260755 h 1277788"/>
              <a:gd name="connsiteX29" fmla="*/ 793316 w 1541024"/>
              <a:gd name="connsiteY29" fmla="*/ 151345 h 1277788"/>
              <a:gd name="connsiteX30" fmla="*/ 1079246 w 1541024"/>
              <a:gd name="connsiteY30" fmla="*/ 153546 h 1277788"/>
              <a:gd name="connsiteX31" fmla="*/ 1079246 w 1541024"/>
              <a:gd name="connsiteY31" fmla="*/ 276648 h 1277788"/>
              <a:gd name="connsiteX32" fmla="*/ 1079246 w 1541024"/>
              <a:gd name="connsiteY32" fmla="*/ 393065 h 1277788"/>
              <a:gd name="connsiteX33" fmla="*/ 1326301 w 1541024"/>
              <a:gd name="connsiteY33" fmla="*/ 109410 h 1277788"/>
              <a:gd name="connsiteX34" fmla="*/ 1157919 w 1541024"/>
              <a:gd name="connsiteY34" fmla="*/ 109410 h 127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41024" h="1277788">
                <a:moveTo>
                  <a:pt x="864062" y="659654"/>
                </a:moveTo>
                <a:lnTo>
                  <a:pt x="864062" y="860395"/>
                </a:lnTo>
                <a:lnTo>
                  <a:pt x="1193557" y="1277788"/>
                </a:lnTo>
                <a:lnTo>
                  <a:pt x="1023322" y="1277788"/>
                </a:lnTo>
                <a:lnTo>
                  <a:pt x="772730" y="969628"/>
                </a:lnTo>
                <a:lnTo>
                  <a:pt x="515072" y="1277788"/>
                </a:lnTo>
                <a:lnTo>
                  <a:pt x="348481" y="1277788"/>
                </a:lnTo>
                <a:close/>
                <a:moveTo>
                  <a:pt x="73767" y="110090"/>
                </a:moveTo>
                <a:lnTo>
                  <a:pt x="120468" y="110090"/>
                </a:lnTo>
                <a:lnTo>
                  <a:pt x="197147" y="110090"/>
                </a:lnTo>
                <a:lnTo>
                  <a:pt x="243848" y="110090"/>
                </a:lnTo>
                <a:lnTo>
                  <a:pt x="604999" y="554209"/>
                </a:lnTo>
                <a:lnTo>
                  <a:pt x="606639" y="552248"/>
                </a:lnTo>
                <a:lnTo>
                  <a:pt x="606639" y="556799"/>
                </a:lnTo>
                <a:lnTo>
                  <a:pt x="785619" y="556799"/>
                </a:lnTo>
                <a:lnTo>
                  <a:pt x="178537" y="1277788"/>
                </a:lnTo>
                <a:lnTo>
                  <a:pt x="0" y="1277788"/>
                </a:lnTo>
                <a:lnTo>
                  <a:pt x="518776" y="657332"/>
                </a:lnTo>
                <a:close/>
                <a:moveTo>
                  <a:pt x="1254950" y="0"/>
                </a:moveTo>
                <a:lnTo>
                  <a:pt x="1540882" y="1617"/>
                </a:lnTo>
                <a:cubicBezTo>
                  <a:pt x="1540388" y="86493"/>
                  <a:pt x="1541375" y="164114"/>
                  <a:pt x="1540882" y="248990"/>
                </a:cubicBezTo>
                <a:lnTo>
                  <a:pt x="1430167" y="382287"/>
                </a:lnTo>
                <a:cubicBezTo>
                  <a:pt x="1430407" y="316072"/>
                  <a:pt x="1430649" y="249858"/>
                  <a:pt x="1430889" y="183643"/>
                </a:cubicBezTo>
                <a:lnTo>
                  <a:pt x="971851" y="743721"/>
                </a:lnTo>
                <a:cubicBezTo>
                  <a:pt x="973102" y="609775"/>
                  <a:pt x="968002" y="472655"/>
                  <a:pt x="969253" y="338709"/>
                </a:cubicBezTo>
                <a:lnTo>
                  <a:pt x="869321" y="460763"/>
                </a:lnTo>
                <a:lnTo>
                  <a:pt x="701714" y="457588"/>
                </a:lnTo>
                <a:lnTo>
                  <a:pt x="850362" y="260755"/>
                </a:lnTo>
                <a:lnTo>
                  <a:pt x="696283" y="260755"/>
                </a:lnTo>
                <a:lnTo>
                  <a:pt x="793316" y="151345"/>
                </a:lnTo>
                <a:lnTo>
                  <a:pt x="1079246" y="153546"/>
                </a:lnTo>
                <a:lnTo>
                  <a:pt x="1079246" y="276648"/>
                </a:lnTo>
                <a:lnTo>
                  <a:pt x="1079246" y="393065"/>
                </a:lnTo>
                <a:lnTo>
                  <a:pt x="1326301" y="109410"/>
                </a:lnTo>
                <a:lnTo>
                  <a:pt x="1157919" y="109410"/>
                </a:lnTo>
                <a:close/>
              </a:path>
            </a:pathLst>
          </a:custGeom>
          <a:solidFill>
            <a:schemeClr val="bg1">
              <a:alpha val="23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rgbClr val="FFFFF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A57404-7CC7-4DE1-B6B1-1CE4EC33F2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92413" y="2815748"/>
            <a:ext cx="6607175" cy="1477328"/>
          </a:xfrm>
        </p:spPr>
        <p:txBody>
          <a:bodyPr anchor="ctr">
            <a:noAutofit/>
          </a:bodyPr>
          <a:lstStyle>
            <a:lvl1pPr marL="0" indent="0">
              <a:buNone/>
              <a:defRPr sz="3200" kern="100" spc="0" baseline="0">
                <a:solidFill>
                  <a:schemeClr val="bg1"/>
                </a:solidFill>
              </a:defRPr>
            </a:lvl1pPr>
            <a:lvl2pPr marL="358775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574754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A4A3A4"/>
          </p15:clr>
        </p15:guide>
        <p15:guide id="2" pos="483">
          <p15:clr>
            <a:srgbClr val="A4A3A4"/>
          </p15:clr>
        </p15:guide>
        <p15:guide id="3" orient="horz" pos="754">
          <p15:clr>
            <a:srgbClr val="A4A3A4"/>
          </p15:clr>
        </p15:guide>
        <p15:guide id="4" orient="horz" pos="640">
          <p15:clr>
            <a:srgbClr val="A4A3A4"/>
          </p15:clr>
        </p15:guide>
        <p15:guide id="5" orient="horz" pos="4065">
          <p15:clr>
            <a:srgbClr val="A4A3A4"/>
          </p15:clr>
        </p15:guide>
        <p15:guide id="6" pos="7197">
          <p15:clr>
            <a:srgbClr val="A4A3A4"/>
          </p15:clr>
        </p15:guide>
        <p15:guide id="7" orient="horz" pos="4110">
          <p15:clr>
            <a:srgbClr val="F26B43"/>
          </p15:clr>
        </p15:guide>
        <p15:guide id="8" pos="226">
          <p15:clr>
            <a:srgbClr val="F26B43"/>
          </p15:clr>
        </p15:guide>
        <p15:guide id="9" pos="7452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ags" Target="../tags/tag2.xml"/><Relationship Id="rId50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ags" Target="../tags/tag3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26" Type="http://schemas.openxmlformats.org/officeDocument/2006/relationships/slideLayout" Target="../slideLayouts/slideLayout70.xml"/><Relationship Id="rId39" Type="http://schemas.openxmlformats.org/officeDocument/2006/relationships/slideLayout" Target="../slideLayouts/slideLayout83.xml"/><Relationship Id="rId3" Type="http://schemas.openxmlformats.org/officeDocument/2006/relationships/slideLayout" Target="../slideLayouts/slideLayout47.xml"/><Relationship Id="rId21" Type="http://schemas.openxmlformats.org/officeDocument/2006/relationships/slideLayout" Target="../slideLayouts/slideLayout65.xml"/><Relationship Id="rId34" Type="http://schemas.openxmlformats.org/officeDocument/2006/relationships/slideLayout" Target="../slideLayouts/slideLayout78.xml"/><Relationship Id="rId42" Type="http://schemas.openxmlformats.org/officeDocument/2006/relationships/slideLayout" Target="../slideLayouts/slideLayout86.xml"/><Relationship Id="rId47" Type="http://schemas.openxmlformats.org/officeDocument/2006/relationships/theme" Target="../theme/theme2.xml"/><Relationship Id="rId50" Type="http://schemas.openxmlformats.org/officeDocument/2006/relationships/tags" Target="../tags/tag95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5" Type="http://schemas.openxmlformats.org/officeDocument/2006/relationships/slideLayout" Target="../slideLayouts/slideLayout69.xml"/><Relationship Id="rId33" Type="http://schemas.openxmlformats.org/officeDocument/2006/relationships/slideLayout" Target="../slideLayouts/slideLayout77.xml"/><Relationship Id="rId38" Type="http://schemas.openxmlformats.org/officeDocument/2006/relationships/slideLayout" Target="../slideLayouts/slideLayout82.xml"/><Relationship Id="rId46" Type="http://schemas.openxmlformats.org/officeDocument/2006/relationships/slideLayout" Target="../slideLayouts/slideLayout90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0" Type="http://schemas.openxmlformats.org/officeDocument/2006/relationships/slideLayout" Target="../slideLayouts/slideLayout64.xml"/><Relationship Id="rId29" Type="http://schemas.openxmlformats.org/officeDocument/2006/relationships/slideLayout" Target="../slideLayouts/slideLayout73.xml"/><Relationship Id="rId41" Type="http://schemas.openxmlformats.org/officeDocument/2006/relationships/slideLayout" Target="../slideLayouts/slideLayout85.xml"/><Relationship Id="rId54" Type="http://schemas.openxmlformats.org/officeDocument/2006/relationships/image" Target="../media/image2.png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24" Type="http://schemas.openxmlformats.org/officeDocument/2006/relationships/slideLayout" Target="../slideLayouts/slideLayout68.xml"/><Relationship Id="rId32" Type="http://schemas.openxmlformats.org/officeDocument/2006/relationships/slideLayout" Target="../slideLayouts/slideLayout76.xml"/><Relationship Id="rId37" Type="http://schemas.openxmlformats.org/officeDocument/2006/relationships/slideLayout" Target="../slideLayouts/slideLayout81.xml"/><Relationship Id="rId40" Type="http://schemas.openxmlformats.org/officeDocument/2006/relationships/slideLayout" Target="../slideLayouts/slideLayout84.xml"/><Relationship Id="rId45" Type="http://schemas.openxmlformats.org/officeDocument/2006/relationships/slideLayout" Target="../slideLayouts/slideLayout89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23" Type="http://schemas.openxmlformats.org/officeDocument/2006/relationships/slideLayout" Target="../slideLayouts/slideLayout67.xml"/><Relationship Id="rId28" Type="http://schemas.openxmlformats.org/officeDocument/2006/relationships/slideLayout" Target="../slideLayouts/slideLayout72.xml"/><Relationship Id="rId36" Type="http://schemas.openxmlformats.org/officeDocument/2006/relationships/slideLayout" Target="../slideLayouts/slideLayout80.xml"/><Relationship Id="rId49" Type="http://schemas.openxmlformats.org/officeDocument/2006/relationships/tags" Target="../tags/tag94.xml"/><Relationship Id="rId10" Type="http://schemas.openxmlformats.org/officeDocument/2006/relationships/slideLayout" Target="../slideLayouts/slideLayout54.xml"/><Relationship Id="rId19" Type="http://schemas.openxmlformats.org/officeDocument/2006/relationships/slideLayout" Target="../slideLayouts/slideLayout63.xml"/><Relationship Id="rId31" Type="http://schemas.openxmlformats.org/officeDocument/2006/relationships/slideLayout" Target="../slideLayouts/slideLayout75.xml"/><Relationship Id="rId44" Type="http://schemas.openxmlformats.org/officeDocument/2006/relationships/slideLayout" Target="../slideLayouts/slideLayout88.xml"/><Relationship Id="rId52" Type="http://schemas.openxmlformats.org/officeDocument/2006/relationships/oleObject" Target="../embeddings/oleObject46.bin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Relationship Id="rId22" Type="http://schemas.openxmlformats.org/officeDocument/2006/relationships/slideLayout" Target="../slideLayouts/slideLayout66.xml"/><Relationship Id="rId27" Type="http://schemas.openxmlformats.org/officeDocument/2006/relationships/slideLayout" Target="../slideLayouts/slideLayout71.xml"/><Relationship Id="rId30" Type="http://schemas.openxmlformats.org/officeDocument/2006/relationships/slideLayout" Target="../slideLayouts/slideLayout74.xml"/><Relationship Id="rId35" Type="http://schemas.openxmlformats.org/officeDocument/2006/relationships/slideLayout" Target="../slideLayouts/slideLayout79.xml"/><Relationship Id="rId43" Type="http://schemas.openxmlformats.org/officeDocument/2006/relationships/slideLayout" Target="../slideLayouts/slideLayout87.xml"/><Relationship Id="rId48" Type="http://schemas.openxmlformats.org/officeDocument/2006/relationships/vmlDrawing" Target="../drawings/vmlDrawing46.vml"/><Relationship Id="rId8" Type="http://schemas.openxmlformats.org/officeDocument/2006/relationships/slideLayout" Target="../slideLayouts/slideLayout52.xml"/><Relationship Id="rId51" Type="http://schemas.openxmlformats.org/officeDocument/2006/relationships/tags" Target="../tags/tag96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3.xml"/><Relationship Id="rId18" Type="http://schemas.openxmlformats.org/officeDocument/2006/relationships/slideLayout" Target="../slideLayouts/slideLayout108.xml"/><Relationship Id="rId26" Type="http://schemas.openxmlformats.org/officeDocument/2006/relationships/slideLayout" Target="../slideLayouts/slideLayout116.xml"/><Relationship Id="rId39" Type="http://schemas.openxmlformats.org/officeDocument/2006/relationships/slideLayout" Target="../slideLayouts/slideLayout129.xml"/><Relationship Id="rId3" Type="http://schemas.openxmlformats.org/officeDocument/2006/relationships/slideLayout" Target="../slideLayouts/slideLayout93.xml"/><Relationship Id="rId21" Type="http://schemas.openxmlformats.org/officeDocument/2006/relationships/slideLayout" Target="../slideLayouts/slideLayout111.xml"/><Relationship Id="rId34" Type="http://schemas.openxmlformats.org/officeDocument/2006/relationships/slideLayout" Target="../slideLayouts/slideLayout124.xml"/><Relationship Id="rId42" Type="http://schemas.openxmlformats.org/officeDocument/2006/relationships/slideLayout" Target="../slideLayouts/slideLayout132.xml"/><Relationship Id="rId47" Type="http://schemas.openxmlformats.org/officeDocument/2006/relationships/tags" Target="../tags/tag186.xml"/><Relationship Id="rId50" Type="http://schemas.openxmlformats.org/officeDocument/2006/relationships/oleObject" Target="../embeddings/oleObject91.bin"/><Relationship Id="rId7" Type="http://schemas.openxmlformats.org/officeDocument/2006/relationships/slideLayout" Target="../slideLayouts/slideLayout97.xml"/><Relationship Id="rId12" Type="http://schemas.openxmlformats.org/officeDocument/2006/relationships/slideLayout" Target="../slideLayouts/slideLayout102.xml"/><Relationship Id="rId17" Type="http://schemas.openxmlformats.org/officeDocument/2006/relationships/slideLayout" Target="../slideLayouts/slideLayout107.xml"/><Relationship Id="rId25" Type="http://schemas.openxmlformats.org/officeDocument/2006/relationships/slideLayout" Target="../slideLayouts/slideLayout115.xml"/><Relationship Id="rId33" Type="http://schemas.openxmlformats.org/officeDocument/2006/relationships/slideLayout" Target="../slideLayouts/slideLayout123.xml"/><Relationship Id="rId38" Type="http://schemas.openxmlformats.org/officeDocument/2006/relationships/slideLayout" Target="../slideLayouts/slideLayout128.xml"/><Relationship Id="rId46" Type="http://schemas.openxmlformats.org/officeDocument/2006/relationships/vmlDrawing" Target="../drawings/vmlDrawing91.vml"/><Relationship Id="rId2" Type="http://schemas.openxmlformats.org/officeDocument/2006/relationships/slideLayout" Target="../slideLayouts/slideLayout92.xml"/><Relationship Id="rId16" Type="http://schemas.openxmlformats.org/officeDocument/2006/relationships/slideLayout" Target="../slideLayouts/slideLayout106.xml"/><Relationship Id="rId20" Type="http://schemas.openxmlformats.org/officeDocument/2006/relationships/slideLayout" Target="../slideLayouts/slideLayout110.xml"/><Relationship Id="rId29" Type="http://schemas.openxmlformats.org/officeDocument/2006/relationships/slideLayout" Target="../slideLayouts/slideLayout119.xml"/><Relationship Id="rId41" Type="http://schemas.openxmlformats.org/officeDocument/2006/relationships/slideLayout" Target="../slideLayouts/slideLayout131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24" Type="http://schemas.openxmlformats.org/officeDocument/2006/relationships/slideLayout" Target="../slideLayouts/slideLayout114.xml"/><Relationship Id="rId32" Type="http://schemas.openxmlformats.org/officeDocument/2006/relationships/slideLayout" Target="../slideLayouts/slideLayout122.xml"/><Relationship Id="rId37" Type="http://schemas.openxmlformats.org/officeDocument/2006/relationships/slideLayout" Target="../slideLayouts/slideLayout127.xml"/><Relationship Id="rId40" Type="http://schemas.openxmlformats.org/officeDocument/2006/relationships/slideLayout" Target="../slideLayouts/slideLayout130.xml"/><Relationship Id="rId45" Type="http://schemas.openxmlformats.org/officeDocument/2006/relationships/theme" Target="../theme/theme3.xml"/><Relationship Id="rId5" Type="http://schemas.openxmlformats.org/officeDocument/2006/relationships/slideLayout" Target="../slideLayouts/slideLayout95.xml"/><Relationship Id="rId15" Type="http://schemas.openxmlformats.org/officeDocument/2006/relationships/slideLayout" Target="../slideLayouts/slideLayout105.xml"/><Relationship Id="rId23" Type="http://schemas.openxmlformats.org/officeDocument/2006/relationships/slideLayout" Target="../slideLayouts/slideLayout113.xml"/><Relationship Id="rId28" Type="http://schemas.openxmlformats.org/officeDocument/2006/relationships/slideLayout" Target="../slideLayouts/slideLayout118.xml"/><Relationship Id="rId36" Type="http://schemas.openxmlformats.org/officeDocument/2006/relationships/slideLayout" Target="../slideLayouts/slideLayout126.xml"/><Relationship Id="rId49" Type="http://schemas.openxmlformats.org/officeDocument/2006/relationships/tags" Target="../tags/tag188.xml"/><Relationship Id="rId10" Type="http://schemas.openxmlformats.org/officeDocument/2006/relationships/slideLayout" Target="../slideLayouts/slideLayout100.xml"/><Relationship Id="rId19" Type="http://schemas.openxmlformats.org/officeDocument/2006/relationships/slideLayout" Target="../slideLayouts/slideLayout109.xml"/><Relationship Id="rId31" Type="http://schemas.openxmlformats.org/officeDocument/2006/relationships/slideLayout" Target="../slideLayouts/slideLayout121.xml"/><Relationship Id="rId44" Type="http://schemas.openxmlformats.org/officeDocument/2006/relationships/slideLayout" Target="../slideLayouts/slideLayout134.xml"/><Relationship Id="rId52" Type="http://schemas.openxmlformats.org/officeDocument/2006/relationships/image" Target="../media/image2.png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4" Type="http://schemas.openxmlformats.org/officeDocument/2006/relationships/slideLayout" Target="../slideLayouts/slideLayout104.xml"/><Relationship Id="rId22" Type="http://schemas.openxmlformats.org/officeDocument/2006/relationships/slideLayout" Target="../slideLayouts/slideLayout112.xml"/><Relationship Id="rId27" Type="http://schemas.openxmlformats.org/officeDocument/2006/relationships/slideLayout" Target="../slideLayouts/slideLayout117.xml"/><Relationship Id="rId30" Type="http://schemas.openxmlformats.org/officeDocument/2006/relationships/slideLayout" Target="../slideLayouts/slideLayout120.xml"/><Relationship Id="rId35" Type="http://schemas.openxmlformats.org/officeDocument/2006/relationships/slideLayout" Target="../slideLayouts/slideLayout125.xml"/><Relationship Id="rId43" Type="http://schemas.openxmlformats.org/officeDocument/2006/relationships/slideLayout" Target="../slideLayouts/slideLayout133.xml"/><Relationship Id="rId48" Type="http://schemas.openxmlformats.org/officeDocument/2006/relationships/tags" Target="../tags/tag187.xml"/><Relationship Id="rId8" Type="http://schemas.openxmlformats.org/officeDocument/2006/relationships/slideLayout" Target="../slideLayouts/slideLayout98.xml"/><Relationship Id="rId51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0E0C0A1-9375-4F36-B71D-95DD66E97E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7"/>
            </p:custDataLst>
            <p:extLst>
              <p:ext uri="{D42A27DB-BD31-4B8C-83A1-F6EECF244321}">
                <p14:modId xmlns:p14="http://schemas.microsoft.com/office/powerpoint/2010/main" val="4113514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Folie" r:id="rId50" imgW="473" imgH="476" progId="TCLayout.ActiveDocument.1">
                  <p:embed/>
                </p:oleObj>
              </mc:Choice>
              <mc:Fallback>
                <p:oleObj name="think-cell Folie" r:id="rId50" imgW="473" imgH="47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0E0C0A1-9375-4F36-B71D-95DD66E97E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D4D0082-41DB-43CC-9120-28B10235E010}"/>
              </a:ext>
            </a:extLst>
          </p:cNvPr>
          <p:cNvSpPr/>
          <p:nvPr userDrawn="1">
            <p:custDataLst>
              <p:tags r:id="rId4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spcAft>
                <a:spcPts val="1200"/>
              </a:spcAft>
            </a:pPr>
            <a:endParaRPr lang="de-DE" sz="2000" b="0" i="0" kern="600" spc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DEAAE901-054D-41AA-B6A8-B0DE66A43531}"/>
              </a:ext>
            </a:extLst>
          </p:cNvPr>
          <p:cNvSpPr/>
          <p:nvPr userDrawn="1">
            <p:custDataLst>
              <p:tags r:id="rId4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25DFA70-0488-4795-A917-E980F8210260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11" name="Freeform 18">
              <a:extLst>
                <a:ext uri="{FF2B5EF4-FFF2-40B4-BE49-F238E27FC236}">
                  <a16:creationId xmlns:a16="http://schemas.microsoft.com/office/drawing/2014/main" id="{19EA8786-E979-42F3-A5BB-26AF6CF9C602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tx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 noProof="0">
                <a:solidFill>
                  <a:schemeClr val="bg1"/>
                </a:solidFill>
              </a:endParaRPr>
            </a:p>
          </p:txBody>
        </p:sp>
        <p:sp>
          <p:nvSpPr>
            <p:cNvPr id="12" name="Freeform 57">
              <a:extLst>
                <a:ext uri="{FF2B5EF4-FFF2-40B4-BE49-F238E27FC236}">
                  <a16:creationId xmlns:a16="http://schemas.microsoft.com/office/drawing/2014/main" id="{9DC62BE5-38F4-491A-A8B5-17BBD1C36C3B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noProof="0">
                <a:solidFill>
                  <a:schemeClr val="bg1"/>
                </a:solidFill>
              </a:endParaRPr>
            </a:p>
          </p:txBody>
        </p:sp>
      </p:grp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F5271990-9DBD-4A7E-9EAB-D14ED5AB65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333692"/>
            <a:ext cx="10658475" cy="680356"/>
          </a:xfrm>
          <a:prstGeom prst="rect">
            <a:avLst/>
          </a:prstGeom>
          <a:noFill/>
        </p:spPr>
        <p:txBody>
          <a:bodyPr vert="horz" wrap="square" lIns="144000" tIns="0" rIns="144000" bIns="0" rtlCol="0" anchor="ctr">
            <a:normAutofit/>
          </a:bodyPr>
          <a:lstStyle/>
          <a:p>
            <a:r>
              <a:rPr lang="de-DE" noProof="0"/>
              <a:t>Titel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59B4537D-9875-4949-B8E3-5C5D65F896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6763" y="6510334"/>
            <a:ext cx="187552" cy="2462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E6101334-2212-47E5-96F0-086CB39DE767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3" name="Footer Placeholder 22">
            <a:extLst>
              <a:ext uri="{FF2B5EF4-FFF2-40B4-BE49-F238E27FC236}">
                <a16:creationId xmlns:a16="http://schemas.microsoft.com/office/drawing/2014/main" id="{738C50A1-844A-4A6E-A7A4-153602C530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70509" y="6511755"/>
            <a:ext cx="7526083" cy="244800"/>
          </a:xfrm>
          <a:prstGeom prst="rect">
            <a:avLst/>
          </a:prstGeom>
        </p:spPr>
        <p:txBody>
          <a:bodyPr vert="horz" wrap="square" lIns="0" tIns="0" rIns="0" bIns="0" rtlCol="0" anchor="ctr" anchorCtr="0"/>
          <a:lstStyle>
            <a:lvl1pPr algn="l">
              <a:defRPr sz="800" baseline="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Abteilung | Verfasser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F681A92B-F880-459D-A1CB-D2A6791E0F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3" y="1196974"/>
            <a:ext cx="10658475" cy="52562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de-DE" noProof="0" dirty="0"/>
              <a:t>Ebene 1</a:t>
            </a:r>
          </a:p>
          <a:p>
            <a:pPr lvl="1"/>
            <a:r>
              <a:rPr lang="de-DE" noProof="0" dirty="0"/>
              <a:t>Ebene 2</a:t>
            </a:r>
          </a:p>
          <a:p>
            <a:pPr lvl="2"/>
            <a:r>
              <a:rPr lang="de-DE" noProof="0" dirty="0"/>
              <a:t>Ebene 3</a:t>
            </a:r>
          </a:p>
          <a:p>
            <a:pPr lvl="3"/>
            <a:r>
              <a:rPr lang="de-DE" noProof="0" dirty="0"/>
              <a:t>Ebene 4</a:t>
            </a:r>
          </a:p>
          <a:p>
            <a:pPr lvl="4"/>
            <a:r>
              <a:rPr lang="de-DE" noProof="0" dirty="0"/>
              <a:t>Ebene 5</a:t>
            </a:r>
          </a:p>
        </p:txBody>
      </p:sp>
    </p:spTree>
    <p:extLst>
      <p:ext uri="{BB962C8B-B14F-4D97-AF65-F5344CB8AC3E}">
        <p14:creationId xmlns:p14="http://schemas.microsoft.com/office/powerpoint/2010/main" val="3306566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3" r:id="rId1"/>
    <p:sldLayoutId id="2147483992" r:id="rId2"/>
    <p:sldLayoutId id="2147483964" r:id="rId3"/>
    <p:sldLayoutId id="2147483965" r:id="rId4"/>
    <p:sldLayoutId id="2147483997" r:id="rId5"/>
    <p:sldLayoutId id="2147483998" r:id="rId6"/>
    <p:sldLayoutId id="2147483972" r:id="rId7"/>
    <p:sldLayoutId id="2147483973" r:id="rId8"/>
    <p:sldLayoutId id="2147483969" r:id="rId9"/>
    <p:sldLayoutId id="2147483970" r:id="rId10"/>
    <p:sldLayoutId id="2147483971" r:id="rId11"/>
    <p:sldLayoutId id="2147483984" r:id="rId12"/>
    <p:sldLayoutId id="2147483985" r:id="rId13"/>
    <p:sldLayoutId id="2147483947" r:id="rId14"/>
    <p:sldLayoutId id="2147483948" r:id="rId15"/>
    <p:sldLayoutId id="2147483951" r:id="rId16"/>
    <p:sldLayoutId id="2147483959" r:id="rId17"/>
    <p:sldLayoutId id="2147483952" r:id="rId18"/>
    <p:sldLayoutId id="2147483953" r:id="rId19"/>
    <p:sldLayoutId id="2147483954" r:id="rId20"/>
    <p:sldLayoutId id="2147483960" r:id="rId21"/>
    <p:sldLayoutId id="2147483961" r:id="rId22"/>
    <p:sldLayoutId id="2147483962" r:id="rId23"/>
    <p:sldLayoutId id="2147483949" r:id="rId24"/>
    <p:sldLayoutId id="2147483950" r:id="rId25"/>
    <p:sldLayoutId id="2147483955" r:id="rId26"/>
    <p:sldLayoutId id="2147483956" r:id="rId27"/>
    <p:sldLayoutId id="2147483957" r:id="rId28"/>
    <p:sldLayoutId id="2147483958" r:id="rId29"/>
    <p:sldLayoutId id="2147483987" r:id="rId30"/>
    <p:sldLayoutId id="2147483974" r:id="rId31"/>
    <p:sldLayoutId id="2147483982" r:id="rId32"/>
    <p:sldLayoutId id="2147483988" r:id="rId33"/>
    <p:sldLayoutId id="2147483989" r:id="rId34"/>
    <p:sldLayoutId id="2147483990" r:id="rId35"/>
    <p:sldLayoutId id="2147483991" r:id="rId36"/>
    <p:sldLayoutId id="2147483975" r:id="rId37"/>
    <p:sldLayoutId id="2147483976" r:id="rId38"/>
    <p:sldLayoutId id="2147483977" r:id="rId39"/>
    <p:sldLayoutId id="2147483979" r:id="rId40"/>
    <p:sldLayoutId id="2147483980" r:id="rId41"/>
    <p:sldLayoutId id="2147483981" r:id="rId42"/>
    <p:sldLayoutId id="2147483967" r:id="rId43"/>
    <p:sldLayoutId id="2147483968" r:id="rId4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8775" indent="-358775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&gt;"/>
        <a:defRPr sz="1400" kern="600" spc="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71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bg1">
            <a:lumMod val="65000"/>
          </a:schemeClr>
        </a:buClr>
        <a:buFont typeface="Arial" panose="020B0604020202020204" pitchFamily="34" charset="0"/>
        <a:buChar char="&gt;"/>
        <a:defRPr sz="1400" kern="600" spc="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360363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SzPct val="150000"/>
        <a:buFontTx/>
        <a:buBlip>
          <a:blip r:embed="rId52"/>
        </a:buBlip>
        <a:defRPr sz="1400" kern="600" spc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400" kern="600" spc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400" b="1" kern="600" cap="none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400" kern="600" spc="40" baseline="0">
          <a:solidFill>
            <a:schemeClr val="accent6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65" userDrawn="1">
          <p15:clr>
            <a:srgbClr val="F26B43"/>
          </p15:clr>
        </p15:guide>
        <p15:guide id="2" pos="483" userDrawn="1">
          <p15:clr>
            <a:srgbClr val="F26B43"/>
          </p15:clr>
        </p15:guide>
        <p15:guide id="3" pos="7197" userDrawn="1">
          <p15:clr>
            <a:srgbClr val="F26B43"/>
          </p15:clr>
        </p15:guide>
        <p15:guide id="4" orient="horz" pos="754" userDrawn="1">
          <p15:clr>
            <a:srgbClr val="F26B43"/>
          </p15:clr>
        </p15:guide>
        <p15:guide id="5" orient="horz" pos="210" userDrawn="1">
          <p15:clr>
            <a:srgbClr val="F26B43"/>
          </p15:clr>
        </p15:guide>
        <p15:guide id="6" orient="horz" pos="6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0E0C0A1-9375-4F36-B71D-95DD66E97E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2" name="think-cell Folie" r:id="rId52" imgW="473" imgH="476" progId="TCLayout.ActiveDocument.1">
                  <p:embed/>
                </p:oleObj>
              </mc:Choice>
              <mc:Fallback>
                <p:oleObj name="think-cell Folie" r:id="rId52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D4D0082-41DB-43CC-9120-28B10235E010}"/>
              </a:ext>
            </a:extLst>
          </p:cNvPr>
          <p:cNvSpPr/>
          <p:nvPr userDrawn="1">
            <p:custDataLst>
              <p:tags r:id="rId5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spcAft>
                <a:spcPts val="1200"/>
              </a:spcAft>
            </a:pPr>
            <a:endParaRPr lang="de-DE" sz="2000" kern="6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DEAAE901-054D-41AA-B6A8-B0DE66A43531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1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25DFA70-0488-4795-A917-E980F8210260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11" name="Freeform 18">
              <a:extLst>
                <a:ext uri="{FF2B5EF4-FFF2-40B4-BE49-F238E27FC236}">
                  <a16:creationId xmlns:a16="http://schemas.microsoft.com/office/drawing/2014/main" id="{19EA8786-E979-42F3-A5BB-26AF6CF9C602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tx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>
                <a:solidFill>
                  <a:srgbClr val="FFFFFF"/>
                </a:solidFill>
              </a:endParaRPr>
            </a:p>
          </p:txBody>
        </p:sp>
        <p:sp>
          <p:nvSpPr>
            <p:cNvPr id="12" name="Freeform 57">
              <a:extLst>
                <a:ext uri="{FF2B5EF4-FFF2-40B4-BE49-F238E27FC236}">
                  <a16:creationId xmlns:a16="http://schemas.microsoft.com/office/drawing/2014/main" id="{9DC62BE5-38F4-491A-A8B5-17BBD1C36C3B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>
                <a:solidFill>
                  <a:srgbClr val="FFFFFF"/>
                </a:solidFill>
              </a:endParaRPr>
            </a:p>
          </p:txBody>
        </p:sp>
      </p:grp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F5271990-9DBD-4A7E-9EAB-D14ED5AB65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333692"/>
            <a:ext cx="10658475" cy="680356"/>
          </a:xfrm>
          <a:prstGeom prst="rect">
            <a:avLst/>
          </a:prstGeom>
          <a:noFill/>
        </p:spPr>
        <p:txBody>
          <a:bodyPr vert="horz" wrap="square" lIns="144000" tIns="0" rIns="144000" bIns="0" rtlCol="0" anchor="ctr">
            <a:normAutofit/>
          </a:bodyPr>
          <a:lstStyle/>
          <a:p>
            <a:r>
              <a:rPr lang="de-DE" noProof="0"/>
              <a:t>Titel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59B4537D-9875-4949-B8E3-5C5D65F896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6763" y="6510334"/>
            <a:ext cx="187552" cy="2462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23" name="Footer Placeholder 22">
            <a:extLst>
              <a:ext uri="{FF2B5EF4-FFF2-40B4-BE49-F238E27FC236}">
                <a16:creationId xmlns:a16="http://schemas.microsoft.com/office/drawing/2014/main" id="{738C50A1-844A-4A6E-A7A4-153602C530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70509" y="6511755"/>
            <a:ext cx="7526083" cy="244800"/>
          </a:xfrm>
          <a:prstGeom prst="rect">
            <a:avLst/>
          </a:prstGeom>
        </p:spPr>
        <p:txBody>
          <a:bodyPr vert="horz" wrap="square" lIns="0" tIns="0" rIns="0" bIns="0" rtlCol="0" anchor="ctr" anchorCtr="0"/>
          <a:lstStyle>
            <a:lvl1pPr algn="l">
              <a:defRPr sz="800" baseline="0"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</a:rPr>
              <a:t>Abteilung | Verfasser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F681A92B-F880-459D-A1CB-D2A6791E0F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3" y="1196974"/>
            <a:ext cx="10658475" cy="52562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de-DE" noProof="0" dirty="0"/>
              <a:t>Ebene 1</a:t>
            </a:r>
          </a:p>
          <a:p>
            <a:pPr lvl="1"/>
            <a:r>
              <a:rPr lang="de-DE" noProof="0" dirty="0"/>
              <a:t>Ebene 2</a:t>
            </a:r>
          </a:p>
          <a:p>
            <a:pPr lvl="2"/>
            <a:r>
              <a:rPr lang="de-DE" noProof="0" dirty="0"/>
              <a:t>Ebene 3</a:t>
            </a:r>
          </a:p>
          <a:p>
            <a:pPr lvl="3"/>
            <a:r>
              <a:rPr lang="de-DE" noProof="0" dirty="0"/>
              <a:t>Ebene 4</a:t>
            </a:r>
          </a:p>
          <a:p>
            <a:pPr lvl="4"/>
            <a:r>
              <a:rPr lang="de-DE" noProof="0" dirty="0"/>
              <a:t>Ebene 5</a:t>
            </a:r>
          </a:p>
        </p:txBody>
      </p:sp>
    </p:spTree>
    <p:extLst>
      <p:ext uri="{BB962C8B-B14F-4D97-AF65-F5344CB8AC3E}">
        <p14:creationId xmlns:p14="http://schemas.microsoft.com/office/powerpoint/2010/main" val="21604145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0" r:id="rId1"/>
    <p:sldLayoutId id="2147484001" r:id="rId2"/>
    <p:sldLayoutId id="2147484002" r:id="rId3"/>
    <p:sldLayoutId id="2147484003" r:id="rId4"/>
    <p:sldLayoutId id="2147484004" r:id="rId5"/>
    <p:sldLayoutId id="2147484005" r:id="rId6"/>
    <p:sldLayoutId id="2147484006" r:id="rId7"/>
    <p:sldLayoutId id="2147484007" r:id="rId8"/>
    <p:sldLayoutId id="2147484008" r:id="rId9"/>
    <p:sldLayoutId id="2147484009" r:id="rId10"/>
    <p:sldLayoutId id="2147484010" r:id="rId11"/>
    <p:sldLayoutId id="2147484011" r:id="rId12"/>
    <p:sldLayoutId id="2147484012" r:id="rId13"/>
    <p:sldLayoutId id="2147484013" r:id="rId14"/>
    <p:sldLayoutId id="2147484014" r:id="rId15"/>
    <p:sldLayoutId id="2147484015" r:id="rId16"/>
    <p:sldLayoutId id="2147484016" r:id="rId17"/>
    <p:sldLayoutId id="2147484017" r:id="rId18"/>
    <p:sldLayoutId id="2147484018" r:id="rId19"/>
    <p:sldLayoutId id="2147484019" r:id="rId20"/>
    <p:sldLayoutId id="2147484020" r:id="rId21"/>
    <p:sldLayoutId id="2147484021" r:id="rId22"/>
    <p:sldLayoutId id="2147484022" r:id="rId23"/>
    <p:sldLayoutId id="2147484023" r:id="rId24"/>
    <p:sldLayoutId id="2147484024" r:id="rId25"/>
    <p:sldLayoutId id="2147484025" r:id="rId26"/>
    <p:sldLayoutId id="2147484026" r:id="rId27"/>
    <p:sldLayoutId id="2147484027" r:id="rId28"/>
    <p:sldLayoutId id="2147484028" r:id="rId29"/>
    <p:sldLayoutId id="2147484029" r:id="rId30"/>
    <p:sldLayoutId id="2147484030" r:id="rId31"/>
    <p:sldLayoutId id="2147484031" r:id="rId32"/>
    <p:sldLayoutId id="2147484032" r:id="rId33"/>
    <p:sldLayoutId id="2147484033" r:id="rId34"/>
    <p:sldLayoutId id="2147484034" r:id="rId35"/>
    <p:sldLayoutId id="2147484035" r:id="rId36"/>
    <p:sldLayoutId id="2147484036" r:id="rId37"/>
    <p:sldLayoutId id="2147484037" r:id="rId38"/>
    <p:sldLayoutId id="2147484038" r:id="rId39"/>
    <p:sldLayoutId id="2147484039" r:id="rId40"/>
    <p:sldLayoutId id="2147484040" r:id="rId41"/>
    <p:sldLayoutId id="2147484041" r:id="rId42"/>
    <p:sldLayoutId id="2147484042" r:id="rId43"/>
    <p:sldLayoutId id="2147484043" r:id="rId44"/>
    <p:sldLayoutId id="2147484046" r:id="rId45"/>
    <p:sldLayoutId id="2147484047" r:id="rId4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8775" indent="-358775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&gt;"/>
        <a:defRPr sz="1400" kern="600" spc="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71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bg1">
            <a:lumMod val="65000"/>
          </a:schemeClr>
        </a:buClr>
        <a:buFont typeface="Arial" panose="020B0604020202020204" pitchFamily="34" charset="0"/>
        <a:buChar char="&gt;"/>
        <a:defRPr sz="1400" kern="600" spc="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360363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SzPct val="150000"/>
        <a:buFontTx/>
        <a:buBlip>
          <a:blip r:embed="rId54"/>
        </a:buBlip>
        <a:defRPr sz="1400" kern="600" spc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400" kern="600" spc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400" b="1" kern="600" cap="none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400" kern="600" spc="40" baseline="0">
          <a:solidFill>
            <a:schemeClr val="accent6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65">
          <p15:clr>
            <a:srgbClr val="F26B43"/>
          </p15:clr>
        </p15:guide>
        <p15:guide id="2" pos="483">
          <p15:clr>
            <a:srgbClr val="F26B43"/>
          </p15:clr>
        </p15:guide>
        <p15:guide id="3" pos="7197">
          <p15:clr>
            <a:srgbClr val="F26B43"/>
          </p15:clr>
        </p15:guide>
        <p15:guide id="4" orient="horz" pos="754">
          <p15:clr>
            <a:srgbClr val="F26B43"/>
          </p15:clr>
        </p15:guide>
        <p15:guide id="5" orient="horz" pos="210">
          <p15:clr>
            <a:srgbClr val="F26B43"/>
          </p15:clr>
        </p15:guide>
        <p15:guide id="6" orient="horz" pos="6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0E0C0A1-9375-4F36-B71D-95DD66E97E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02" name="think-cell Folie" r:id="rId50" imgW="473" imgH="476" progId="TCLayout.ActiveDocument.1">
                  <p:embed/>
                </p:oleObj>
              </mc:Choice>
              <mc:Fallback>
                <p:oleObj name="think-cell Folie" r:id="rId50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D4D0082-41DB-43CC-9120-28B10235E010}"/>
              </a:ext>
            </a:extLst>
          </p:cNvPr>
          <p:cNvSpPr/>
          <p:nvPr userDrawn="1">
            <p:custDataLst>
              <p:tags r:id="rId4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spcAft>
                <a:spcPts val="1200"/>
              </a:spcAft>
            </a:pPr>
            <a:endParaRPr lang="de-DE" sz="2000" kern="6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DEAAE901-054D-41AA-B6A8-B0DE66A43531}"/>
              </a:ext>
            </a:extLst>
          </p:cNvPr>
          <p:cNvSpPr/>
          <p:nvPr userDrawn="1">
            <p:custDataLst>
              <p:tags r:id="rId4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1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25DFA70-0488-4795-A917-E980F8210260}"/>
              </a:ext>
            </a:extLst>
          </p:cNvPr>
          <p:cNvGrpSpPr/>
          <p:nvPr userDrawn="1"/>
        </p:nvGrpSpPr>
        <p:grpSpPr>
          <a:xfrm>
            <a:off x="1" y="339114"/>
            <a:ext cx="661990" cy="742371"/>
            <a:chOff x="1" y="339114"/>
            <a:chExt cx="661990" cy="742371"/>
          </a:xfrm>
        </p:grpSpPr>
        <p:sp>
          <p:nvSpPr>
            <p:cNvPr id="11" name="Freeform 18">
              <a:extLst>
                <a:ext uri="{FF2B5EF4-FFF2-40B4-BE49-F238E27FC236}">
                  <a16:creationId xmlns:a16="http://schemas.microsoft.com/office/drawing/2014/main" id="{19EA8786-E979-42F3-A5BB-26AF6CF9C602}"/>
                </a:ext>
              </a:extLst>
            </p:cNvPr>
            <p:cNvSpPr/>
            <p:nvPr/>
          </p:nvSpPr>
          <p:spPr>
            <a:xfrm>
              <a:off x="1" y="339114"/>
              <a:ext cx="661990" cy="742371"/>
            </a:xfrm>
            <a:custGeom>
              <a:avLst/>
              <a:gdLst>
                <a:gd name="connsiteX0" fmla="*/ 661990 w 661990"/>
                <a:gd name="connsiteY0" fmla="*/ 0 h 742371"/>
                <a:gd name="connsiteX1" fmla="*/ 661990 w 661990"/>
                <a:gd name="connsiteY1" fmla="*/ 10912 h 742371"/>
                <a:gd name="connsiteX2" fmla="*/ 661990 w 661990"/>
                <a:gd name="connsiteY2" fmla="*/ 34453 h 742371"/>
                <a:gd name="connsiteX3" fmla="*/ 661990 w 661990"/>
                <a:gd name="connsiteY3" fmla="*/ 54645 h 742371"/>
                <a:gd name="connsiteX4" fmla="*/ 661990 w 661990"/>
                <a:gd name="connsiteY4" fmla="*/ 79618 h 742371"/>
                <a:gd name="connsiteX5" fmla="*/ 661990 w 661990"/>
                <a:gd name="connsiteY5" fmla="*/ 87698 h 742371"/>
                <a:gd name="connsiteX6" fmla="*/ 661990 w 661990"/>
                <a:gd name="connsiteY6" fmla="*/ 95625 h 742371"/>
                <a:gd name="connsiteX7" fmla="*/ 661990 w 661990"/>
                <a:gd name="connsiteY7" fmla="*/ 99810 h 742371"/>
                <a:gd name="connsiteX8" fmla="*/ 661990 w 661990"/>
                <a:gd name="connsiteY8" fmla="*/ 112958 h 742371"/>
                <a:gd name="connsiteX9" fmla="*/ 661990 w 661990"/>
                <a:gd name="connsiteY9" fmla="*/ 123351 h 742371"/>
                <a:gd name="connsiteX10" fmla="*/ 661990 w 661990"/>
                <a:gd name="connsiteY10" fmla="*/ 131431 h 742371"/>
                <a:gd name="connsiteX11" fmla="*/ 661990 w 661990"/>
                <a:gd name="connsiteY11" fmla="*/ 133149 h 742371"/>
                <a:gd name="connsiteX12" fmla="*/ 661990 w 661990"/>
                <a:gd name="connsiteY12" fmla="*/ 139358 h 742371"/>
                <a:gd name="connsiteX13" fmla="*/ 661990 w 661990"/>
                <a:gd name="connsiteY13" fmla="*/ 143543 h 742371"/>
                <a:gd name="connsiteX14" fmla="*/ 661990 w 661990"/>
                <a:gd name="connsiteY14" fmla="*/ 156691 h 742371"/>
                <a:gd name="connsiteX15" fmla="*/ 661990 w 661990"/>
                <a:gd name="connsiteY15" fmla="*/ 176596 h 742371"/>
                <a:gd name="connsiteX16" fmla="*/ 661990 w 661990"/>
                <a:gd name="connsiteY16" fmla="*/ 176882 h 742371"/>
                <a:gd name="connsiteX17" fmla="*/ 661990 w 661990"/>
                <a:gd name="connsiteY17" fmla="*/ 184524 h 742371"/>
                <a:gd name="connsiteX18" fmla="*/ 661990 w 661990"/>
                <a:gd name="connsiteY18" fmla="*/ 201856 h 742371"/>
                <a:gd name="connsiteX19" fmla="*/ 661990 w 661990"/>
                <a:gd name="connsiteY19" fmla="*/ 209936 h 742371"/>
                <a:gd name="connsiteX20" fmla="*/ 661990 w 661990"/>
                <a:gd name="connsiteY20" fmla="*/ 217863 h 742371"/>
                <a:gd name="connsiteX21" fmla="*/ 661990 w 661990"/>
                <a:gd name="connsiteY21" fmla="*/ 220329 h 742371"/>
                <a:gd name="connsiteX22" fmla="*/ 661990 w 661990"/>
                <a:gd name="connsiteY22" fmla="*/ 222048 h 742371"/>
                <a:gd name="connsiteX23" fmla="*/ 661990 w 661990"/>
                <a:gd name="connsiteY23" fmla="*/ 228257 h 742371"/>
                <a:gd name="connsiteX24" fmla="*/ 661990 w 661990"/>
                <a:gd name="connsiteY24" fmla="*/ 245589 h 742371"/>
                <a:gd name="connsiteX25" fmla="*/ 661990 w 661990"/>
                <a:gd name="connsiteY25" fmla="*/ 253669 h 742371"/>
                <a:gd name="connsiteX26" fmla="*/ 661990 w 661990"/>
                <a:gd name="connsiteY26" fmla="*/ 261596 h 742371"/>
                <a:gd name="connsiteX27" fmla="*/ 661990 w 661990"/>
                <a:gd name="connsiteY27" fmla="*/ 265781 h 742371"/>
                <a:gd name="connsiteX28" fmla="*/ 661990 w 661990"/>
                <a:gd name="connsiteY28" fmla="*/ 298834 h 742371"/>
                <a:gd name="connsiteX29" fmla="*/ 661990 w 661990"/>
                <a:gd name="connsiteY29" fmla="*/ 300903 h 742371"/>
                <a:gd name="connsiteX30" fmla="*/ 661990 w 661990"/>
                <a:gd name="connsiteY30" fmla="*/ 306761 h 742371"/>
                <a:gd name="connsiteX31" fmla="*/ 661990 w 661990"/>
                <a:gd name="connsiteY31" fmla="*/ 321095 h 742371"/>
                <a:gd name="connsiteX32" fmla="*/ 661990 w 661990"/>
                <a:gd name="connsiteY32" fmla="*/ 342567 h 742371"/>
                <a:gd name="connsiteX33" fmla="*/ 661990 w 661990"/>
                <a:gd name="connsiteY33" fmla="*/ 344636 h 742371"/>
                <a:gd name="connsiteX34" fmla="*/ 661990 w 661990"/>
                <a:gd name="connsiteY34" fmla="*/ 350494 h 742371"/>
                <a:gd name="connsiteX35" fmla="*/ 661990 w 661990"/>
                <a:gd name="connsiteY35" fmla="*/ 364828 h 742371"/>
                <a:gd name="connsiteX36" fmla="*/ 661990 w 661990"/>
                <a:gd name="connsiteY36" fmla="*/ 382597 h 742371"/>
                <a:gd name="connsiteX37" fmla="*/ 661990 w 661990"/>
                <a:gd name="connsiteY37" fmla="*/ 389802 h 742371"/>
                <a:gd name="connsiteX38" fmla="*/ 661990 w 661990"/>
                <a:gd name="connsiteY38" fmla="*/ 395868 h 742371"/>
                <a:gd name="connsiteX39" fmla="*/ 661990 w 661990"/>
                <a:gd name="connsiteY39" fmla="*/ 405709 h 742371"/>
                <a:gd name="connsiteX40" fmla="*/ 661990 w 661990"/>
                <a:gd name="connsiteY40" fmla="*/ 405809 h 742371"/>
                <a:gd name="connsiteX41" fmla="*/ 661990 w 661990"/>
                <a:gd name="connsiteY41" fmla="*/ 409993 h 742371"/>
                <a:gd name="connsiteX42" fmla="*/ 661990 w 661990"/>
                <a:gd name="connsiteY42" fmla="*/ 416059 h 742371"/>
                <a:gd name="connsiteX43" fmla="*/ 661990 w 661990"/>
                <a:gd name="connsiteY43" fmla="*/ 423141 h 742371"/>
                <a:gd name="connsiteX44" fmla="*/ 661990 w 661990"/>
                <a:gd name="connsiteY44" fmla="*/ 426330 h 742371"/>
                <a:gd name="connsiteX45" fmla="*/ 661990 w 661990"/>
                <a:gd name="connsiteY45" fmla="*/ 433535 h 742371"/>
                <a:gd name="connsiteX46" fmla="*/ 661990 w 661990"/>
                <a:gd name="connsiteY46" fmla="*/ 439601 h 742371"/>
                <a:gd name="connsiteX47" fmla="*/ 661990 w 661990"/>
                <a:gd name="connsiteY47" fmla="*/ 443333 h 742371"/>
                <a:gd name="connsiteX48" fmla="*/ 661990 w 661990"/>
                <a:gd name="connsiteY48" fmla="*/ 449442 h 742371"/>
                <a:gd name="connsiteX49" fmla="*/ 661990 w 661990"/>
                <a:gd name="connsiteY49" fmla="*/ 449542 h 742371"/>
                <a:gd name="connsiteX50" fmla="*/ 661990 w 661990"/>
                <a:gd name="connsiteY50" fmla="*/ 453726 h 742371"/>
                <a:gd name="connsiteX51" fmla="*/ 661990 w 661990"/>
                <a:gd name="connsiteY51" fmla="*/ 459792 h 742371"/>
                <a:gd name="connsiteX52" fmla="*/ 661990 w 661990"/>
                <a:gd name="connsiteY52" fmla="*/ 466874 h 742371"/>
                <a:gd name="connsiteX53" fmla="*/ 661990 w 661990"/>
                <a:gd name="connsiteY53" fmla="*/ 471495 h 742371"/>
                <a:gd name="connsiteX54" fmla="*/ 661990 w 661990"/>
                <a:gd name="connsiteY54" fmla="*/ 484766 h 742371"/>
                <a:gd name="connsiteX55" fmla="*/ 661990 w 661990"/>
                <a:gd name="connsiteY55" fmla="*/ 487066 h 742371"/>
                <a:gd name="connsiteX56" fmla="*/ 661990 w 661990"/>
                <a:gd name="connsiteY56" fmla="*/ 494607 h 742371"/>
                <a:gd name="connsiteX57" fmla="*/ 661990 w 661990"/>
                <a:gd name="connsiteY57" fmla="*/ 494707 h 742371"/>
                <a:gd name="connsiteX58" fmla="*/ 661990 w 661990"/>
                <a:gd name="connsiteY58" fmla="*/ 504834 h 742371"/>
                <a:gd name="connsiteX59" fmla="*/ 661990 w 661990"/>
                <a:gd name="connsiteY59" fmla="*/ 504958 h 742371"/>
                <a:gd name="connsiteX60" fmla="*/ 661990 w 661990"/>
                <a:gd name="connsiteY60" fmla="*/ 512039 h 742371"/>
                <a:gd name="connsiteX61" fmla="*/ 661990 w 661990"/>
                <a:gd name="connsiteY61" fmla="*/ 515228 h 742371"/>
                <a:gd name="connsiteX62" fmla="*/ 661990 w 661990"/>
                <a:gd name="connsiteY62" fmla="*/ 518106 h 742371"/>
                <a:gd name="connsiteX63" fmla="*/ 661990 w 661990"/>
                <a:gd name="connsiteY63" fmla="*/ 527947 h 742371"/>
                <a:gd name="connsiteX64" fmla="*/ 661990 w 661990"/>
                <a:gd name="connsiteY64" fmla="*/ 528046 h 742371"/>
                <a:gd name="connsiteX65" fmla="*/ 661990 w 661990"/>
                <a:gd name="connsiteY65" fmla="*/ 528499 h 742371"/>
                <a:gd name="connsiteX66" fmla="*/ 661990 w 661990"/>
                <a:gd name="connsiteY66" fmla="*/ 532231 h 742371"/>
                <a:gd name="connsiteX67" fmla="*/ 661990 w 661990"/>
                <a:gd name="connsiteY67" fmla="*/ 538297 h 742371"/>
                <a:gd name="connsiteX68" fmla="*/ 661990 w 661990"/>
                <a:gd name="connsiteY68" fmla="*/ 538340 h 742371"/>
                <a:gd name="connsiteX69" fmla="*/ 661990 w 661990"/>
                <a:gd name="connsiteY69" fmla="*/ 538440 h 742371"/>
                <a:gd name="connsiteX70" fmla="*/ 661990 w 661990"/>
                <a:gd name="connsiteY70" fmla="*/ 548567 h 742371"/>
                <a:gd name="connsiteX71" fmla="*/ 661990 w 661990"/>
                <a:gd name="connsiteY71" fmla="*/ 548691 h 742371"/>
                <a:gd name="connsiteX72" fmla="*/ 661990 w 661990"/>
                <a:gd name="connsiteY72" fmla="*/ 555772 h 742371"/>
                <a:gd name="connsiteX73" fmla="*/ 661990 w 661990"/>
                <a:gd name="connsiteY73" fmla="*/ 561839 h 742371"/>
                <a:gd name="connsiteX74" fmla="*/ 661990 w 661990"/>
                <a:gd name="connsiteY74" fmla="*/ 571680 h 742371"/>
                <a:gd name="connsiteX75" fmla="*/ 661990 w 661990"/>
                <a:gd name="connsiteY75" fmla="*/ 571779 h 742371"/>
                <a:gd name="connsiteX76" fmla="*/ 661990 w 661990"/>
                <a:gd name="connsiteY76" fmla="*/ 575964 h 742371"/>
                <a:gd name="connsiteX77" fmla="*/ 661990 w 661990"/>
                <a:gd name="connsiteY77" fmla="*/ 582030 h 742371"/>
                <a:gd name="connsiteX78" fmla="*/ 661990 w 661990"/>
                <a:gd name="connsiteY78" fmla="*/ 593733 h 742371"/>
                <a:gd name="connsiteX79" fmla="*/ 661990 w 661990"/>
                <a:gd name="connsiteY79" fmla="*/ 607004 h 742371"/>
                <a:gd name="connsiteX80" fmla="*/ 661990 w 661990"/>
                <a:gd name="connsiteY80" fmla="*/ 616845 h 742371"/>
                <a:gd name="connsiteX81" fmla="*/ 661990 w 661990"/>
                <a:gd name="connsiteY81" fmla="*/ 616945 h 742371"/>
                <a:gd name="connsiteX82" fmla="*/ 661990 w 661990"/>
                <a:gd name="connsiteY82" fmla="*/ 627195 h 742371"/>
                <a:gd name="connsiteX83" fmla="*/ 661990 w 661990"/>
                <a:gd name="connsiteY83" fmla="*/ 637466 h 742371"/>
                <a:gd name="connsiteX84" fmla="*/ 661990 w 661990"/>
                <a:gd name="connsiteY84" fmla="*/ 650737 h 742371"/>
                <a:gd name="connsiteX85" fmla="*/ 661990 w 661990"/>
                <a:gd name="connsiteY85" fmla="*/ 660578 h 742371"/>
                <a:gd name="connsiteX86" fmla="*/ 661990 w 661990"/>
                <a:gd name="connsiteY86" fmla="*/ 660678 h 742371"/>
                <a:gd name="connsiteX87" fmla="*/ 661990 w 661990"/>
                <a:gd name="connsiteY87" fmla="*/ 670928 h 742371"/>
                <a:gd name="connsiteX88" fmla="*/ 0 w 661990"/>
                <a:gd name="connsiteY88" fmla="*/ 742371 h 742371"/>
                <a:gd name="connsiteX89" fmla="*/ 0 w 661990"/>
                <a:gd name="connsiteY89" fmla="*/ 722180 h 742371"/>
                <a:gd name="connsiteX90" fmla="*/ 0 w 661990"/>
                <a:gd name="connsiteY90" fmla="*/ 698638 h 742371"/>
                <a:gd name="connsiteX91" fmla="*/ 0 w 661990"/>
                <a:gd name="connsiteY91" fmla="*/ 678447 h 742371"/>
                <a:gd name="connsiteX92" fmla="*/ 0 w 661990"/>
                <a:gd name="connsiteY92" fmla="*/ 660678 h 742371"/>
                <a:gd name="connsiteX93" fmla="*/ 0 w 661990"/>
                <a:gd name="connsiteY93" fmla="*/ 660578 h 742371"/>
                <a:gd name="connsiteX94" fmla="*/ 0 w 661990"/>
                <a:gd name="connsiteY94" fmla="*/ 653473 h 742371"/>
                <a:gd name="connsiteX95" fmla="*/ 0 w 661990"/>
                <a:gd name="connsiteY95" fmla="*/ 633282 h 742371"/>
                <a:gd name="connsiteX96" fmla="*/ 0 w 661990"/>
                <a:gd name="connsiteY96" fmla="*/ 620133 h 742371"/>
                <a:gd name="connsiteX97" fmla="*/ 0 w 661990"/>
                <a:gd name="connsiteY97" fmla="*/ 616945 h 742371"/>
                <a:gd name="connsiteX98" fmla="*/ 0 w 661990"/>
                <a:gd name="connsiteY98" fmla="*/ 616845 h 742371"/>
                <a:gd name="connsiteX99" fmla="*/ 0 w 661990"/>
                <a:gd name="connsiteY99" fmla="*/ 609740 h 742371"/>
                <a:gd name="connsiteX100" fmla="*/ 0 w 661990"/>
                <a:gd name="connsiteY100" fmla="*/ 599943 h 742371"/>
                <a:gd name="connsiteX101" fmla="*/ 0 w 661990"/>
                <a:gd name="connsiteY101" fmla="*/ 589549 h 742371"/>
                <a:gd name="connsiteX102" fmla="*/ 0 w 661990"/>
                <a:gd name="connsiteY102" fmla="*/ 576400 h 742371"/>
                <a:gd name="connsiteX103" fmla="*/ 0 w 661990"/>
                <a:gd name="connsiteY103" fmla="*/ 571779 h 742371"/>
                <a:gd name="connsiteX104" fmla="*/ 0 w 661990"/>
                <a:gd name="connsiteY104" fmla="*/ 571680 h 742371"/>
                <a:gd name="connsiteX105" fmla="*/ 0 w 661990"/>
                <a:gd name="connsiteY105" fmla="*/ 556210 h 742371"/>
                <a:gd name="connsiteX106" fmla="*/ 0 w 661990"/>
                <a:gd name="connsiteY106" fmla="*/ 538440 h 742371"/>
                <a:gd name="connsiteX107" fmla="*/ 0 w 661990"/>
                <a:gd name="connsiteY107" fmla="*/ 538340 h 742371"/>
                <a:gd name="connsiteX108" fmla="*/ 0 w 661990"/>
                <a:gd name="connsiteY108" fmla="*/ 531235 h 742371"/>
                <a:gd name="connsiteX109" fmla="*/ 0 w 661990"/>
                <a:gd name="connsiteY109" fmla="*/ 528046 h 742371"/>
                <a:gd name="connsiteX110" fmla="*/ 0 w 661990"/>
                <a:gd name="connsiteY110" fmla="*/ 527947 h 742371"/>
                <a:gd name="connsiteX111" fmla="*/ 0 w 661990"/>
                <a:gd name="connsiteY111" fmla="*/ 511044 h 742371"/>
                <a:gd name="connsiteX112" fmla="*/ 0 w 661990"/>
                <a:gd name="connsiteY112" fmla="*/ 494707 h 742371"/>
                <a:gd name="connsiteX113" fmla="*/ 0 w 661990"/>
                <a:gd name="connsiteY113" fmla="*/ 494607 h 742371"/>
                <a:gd name="connsiteX114" fmla="*/ 0 w 661990"/>
                <a:gd name="connsiteY114" fmla="*/ 487502 h 742371"/>
                <a:gd name="connsiteX115" fmla="*/ 0 w 661990"/>
                <a:gd name="connsiteY115" fmla="*/ 467311 h 742371"/>
                <a:gd name="connsiteX116" fmla="*/ 0 w 661990"/>
                <a:gd name="connsiteY116" fmla="*/ 449542 h 742371"/>
                <a:gd name="connsiteX117" fmla="*/ 0 w 661990"/>
                <a:gd name="connsiteY117" fmla="*/ 449442 h 742371"/>
                <a:gd name="connsiteX118" fmla="*/ 0 w 661990"/>
                <a:gd name="connsiteY118" fmla="*/ 405809 h 742371"/>
                <a:gd name="connsiteX119" fmla="*/ 0 w 661990"/>
                <a:gd name="connsiteY119" fmla="*/ 405709 h 742371"/>
                <a:gd name="connsiteX120" fmla="*/ 0 w 661990"/>
                <a:gd name="connsiteY120" fmla="*/ 342567 h 742371"/>
                <a:gd name="connsiteX121" fmla="*/ 0 w 661990"/>
                <a:gd name="connsiteY121" fmla="*/ 337223 h 742371"/>
                <a:gd name="connsiteX122" fmla="*/ 0 w 661990"/>
                <a:gd name="connsiteY122" fmla="*/ 317033 h 742371"/>
                <a:gd name="connsiteX123" fmla="*/ 0 w 661990"/>
                <a:gd name="connsiteY123" fmla="*/ 298834 h 742371"/>
                <a:gd name="connsiteX124" fmla="*/ 0 w 661990"/>
                <a:gd name="connsiteY124" fmla="*/ 293490 h 742371"/>
                <a:gd name="connsiteX125" fmla="*/ 0 w 661990"/>
                <a:gd name="connsiteY125" fmla="*/ 273300 h 742371"/>
                <a:gd name="connsiteX126" fmla="*/ 0 w 661990"/>
                <a:gd name="connsiteY126" fmla="*/ 253669 h 742371"/>
                <a:gd name="connsiteX127" fmla="*/ 0 w 661990"/>
                <a:gd name="connsiteY127" fmla="*/ 248325 h 742371"/>
                <a:gd name="connsiteX128" fmla="*/ 0 w 661990"/>
                <a:gd name="connsiteY128" fmla="*/ 228134 h 742371"/>
                <a:gd name="connsiteX129" fmla="*/ 0 w 661990"/>
                <a:gd name="connsiteY129" fmla="*/ 220329 h 742371"/>
                <a:gd name="connsiteX130" fmla="*/ 0 w 661990"/>
                <a:gd name="connsiteY130" fmla="*/ 214986 h 742371"/>
                <a:gd name="connsiteX131" fmla="*/ 0 w 661990"/>
                <a:gd name="connsiteY131" fmla="*/ 209936 h 742371"/>
                <a:gd name="connsiteX132" fmla="*/ 0 w 661990"/>
                <a:gd name="connsiteY132" fmla="*/ 204592 h 742371"/>
                <a:gd name="connsiteX133" fmla="*/ 0 w 661990"/>
                <a:gd name="connsiteY133" fmla="*/ 194795 h 742371"/>
                <a:gd name="connsiteX134" fmla="*/ 0 w 661990"/>
                <a:gd name="connsiteY134" fmla="*/ 184401 h 742371"/>
                <a:gd name="connsiteX135" fmla="*/ 0 w 661990"/>
                <a:gd name="connsiteY135" fmla="*/ 176596 h 742371"/>
                <a:gd name="connsiteX136" fmla="*/ 0 w 661990"/>
                <a:gd name="connsiteY136" fmla="*/ 171253 h 742371"/>
                <a:gd name="connsiteX137" fmla="*/ 0 w 661990"/>
                <a:gd name="connsiteY137" fmla="*/ 151062 h 742371"/>
                <a:gd name="connsiteX138" fmla="*/ 0 w 661990"/>
                <a:gd name="connsiteY138" fmla="*/ 131431 h 742371"/>
                <a:gd name="connsiteX139" fmla="*/ 0 w 661990"/>
                <a:gd name="connsiteY139" fmla="*/ 126087 h 742371"/>
                <a:gd name="connsiteX140" fmla="*/ 0 w 661990"/>
                <a:gd name="connsiteY140" fmla="*/ 105897 h 742371"/>
                <a:gd name="connsiteX141" fmla="*/ 0 w 661990"/>
                <a:gd name="connsiteY141" fmla="*/ 87698 h 742371"/>
                <a:gd name="connsiteX142" fmla="*/ 0 w 661990"/>
                <a:gd name="connsiteY142" fmla="*/ 82354 h 742371"/>
                <a:gd name="connsiteX143" fmla="*/ 0 w 661990"/>
                <a:gd name="connsiteY143" fmla="*/ 71443 h 742371"/>
                <a:gd name="connsiteX144" fmla="*/ 661990 w 661990"/>
                <a:gd name="connsiteY144" fmla="*/ 0 h 7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661990" h="742371">
                  <a:moveTo>
                    <a:pt x="661990" y="0"/>
                  </a:moveTo>
                  <a:lnTo>
                    <a:pt x="661990" y="10912"/>
                  </a:lnTo>
                  <a:lnTo>
                    <a:pt x="661990" y="34453"/>
                  </a:lnTo>
                  <a:lnTo>
                    <a:pt x="661990" y="54645"/>
                  </a:lnTo>
                  <a:lnTo>
                    <a:pt x="661990" y="79618"/>
                  </a:lnTo>
                  <a:lnTo>
                    <a:pt x="661990" y="87698"/>
                  </a:lnTo>
                  <a:lnTo>
                    <a:pt x="661990" y="95625"/>
                  </a:lnTo>
                  <a:lnTo>
                    <a:pt x="661990" y="99810"/>
                  </a:lnTo>
                  <a:lnTo>
                    <a:pt x="661990" y="112958"/>
                  </a:lnTo>
                  <a:lnTo>
                    <a:pt x="661990" y="123351"/>
                  </a:lnTo>
                  <a:lnTo>
                    <a:pt x="661990" y="131431"/>
                  </a:lnTo>
                  <a:lnTo>
                    <a:pt x="661990" y="133149"/>
                  </a:lnTo>
                  <a:lnTo>
                    <a:pt x="661990" y="139358"/>
                  </a:lnTo>
                  <a:lnTo>
                    <a:pt x="661990" y="143543"/>
                  </a:lnTo>
                  <a:lnTo>
                    <a:pt x="661990" y="156691"/>
                  </a:lnTo>
                  <a:lnTo>
                    <a:pt x="661990" y="176596"/>
                  </a:lnTo>
                  <a:lnTo>
                    <a:pt x="661990" y="176882"/>
                  </a:lnTo>
                  <a:lnTo>
                    <a:pt x="661990" y="184524"/>
                  </a:lnTo>
                  <a:lnTo>
                    <a:pt x="661990" y="201856"/>
                  </a:lnTo>
                  <a:lnTo>
                    <a:pt x="661990" y="209936"/>
                  </a:lnTo>
                  <a:lnTo>
                    <a:pt x="661990" y="217863"/>
                  </a:lnTo>
                  <a:lnTo>
                    <a:pt x="661990" y="220329"/>
                  </a:lnTo>
                  <a:lnTo>
                    <a:pt x="661990" y="222048"/>
                  </a:lnTo>
                  <a:lnTo>
                    <a:pt x="661990" y="228257"/>
                  </a:lnTo>
                  <a:lnTo>
                    <a:pt x="661990" y="245589"/>
                  </a:lnTo>
                  <a:lnTo>
                    <a:pt x="661990" y="253669"/>
                  </a:lnTo>
                  <a:lnTo>
                    <a:pt x="661990" y="261596"/>
                  </a:lnTo>
                  <a:lnTo>
                    <a:pt x="661990" y="265781"/>
                  </a:lnTo>
                  <a:lnTo>
                    <a:pt x="661990" y="298834"/>
                  </a:lnTo>
                  <a:lnTo>
                    <a:pt x="661990" y="300903"/>
                  </a:lnTo>
                  <a:lnTo>
                    <a:pt x="661990" y="306761"/>
                  </a:lnTo>
                  <a:lnTo>
                    <a:pt x="661990" y="321095"/>
                  </a:lnTo>
                  <a:lnTo>
                    <a:pt x="661990" y="342567"/>
                  </a:lnTo>
                  <a:lnTo>
                    <a:pt x="661990" y="344636"/>
                  </a:lnTo>
                  <a:lnTo>
                    <a:pt x="661990" y="350494"/>
                  </a:lnTo>
                  <a:lnTo>
                    <a:pt x="661990" y="364828"/>
                  </a:lnTo>
                  <a:lnTo>
                    <a:pt x="661990" y="382597"/>
                  </a:lnTo>
                  <a:lnTo>
                    <a:pt x="661990" y="389802"/>
                  </a:lnTo>
                  <a:lnTo>
                    <a:pt x="661990" y="395868"/>
                  </a:lnTo>
                  <a:lnTo>
                    <a:pt x="661990" y="405709"/>
                  </a:lnTo>
                  <a:lnTo>
                    <a:pt x="661990" y="405809"/>
                  </a:lnTo>
                  <a:lnTo>
                    <a:pt x="661990" y="409993"/>
                  </a:lnTo>
                  <a:lnTo>
                    <a:pt x="661990" y="416059"/>
                  </a:lnTo>
                  <a:lnTo>
                    <a:pt x="661990" y="423141"/>
                  </a:lnTo>
                  <a:lnTo>
                    <a:pt x="661990" y="426330"/>
                  </a:lnTo>
                  <a:lnTo>
                    <a:pt x="661990" y="433535"/>
                  </a:lnTo>
                  <a:lnTo>
                    <a:pt x="661990" y="439601"/>
                  </a:lnTo>
                  <a:lnTo>
                    <a:pt x="661990" y="443333"/>
                  </a:lnTo>
                  <a:lnTo>
                    <a:pt x="661990" y="449442"/>
                  </a:lnTo>
                  <a:lnTo>
                    <a:pt x="661990" y="449542"/>
                  </a:lnTo>
                  <a:lnTo>
                    <a:pt x="661990" y="453726"/>
                  </a:lnTo>
                  <a:lnTo>
                    <a:pt x="661990" y="459792"/>
                  </a:lnTo>
                  <a:lnTo>
                    <a:pt x="661990" y="466874"/>
                  </a:lnTo>
                  <a:lnTo>
                    <a:pt x="661990" y="471495"/>
                  </a:lnTo>
                  <a:lnTo>
                    <a:pt x="661990" y="484766"/>
                  </a:lnTo>
                  <a:lnTo>
                    <a:pt x="661990" y="487066"/>
                  </a:lnTo>
                  <a:lnTo>
                    <a:pt x="661990" y="494607"/>
                  </a:lnTo>
                  <a:lnTo>
                    <a:pt x="661990" y="494707"/>
                  </a:lnTo>
                  <a:lnTo>
                    <a:pt x="661990" y="504834"/>
                  </a:lnTo>
                  <a:lnTo>
                    <a:pt x="661990" y="504958"/>
                  </a:lnTo>
                  <a:lnTo>
                    <a:pt x="661990" y="512039"/>
                  </a:lnTo>
                  <a:lnTo>
                    <a:pt x="661990" y="515228"/>
                  </a:lnTo>
                  <a:lnTo>
                    <a:pt x="661990" y="518106"/>
                  </a:lnTo>
                  <a:lnTo>
                    <a:pt x="661990" y="527947"/>
                  </a:lnTo>
                  <a:lnTo>
                    <a:pt x="661990" y="528046"/>
                  </a:lnTo>
                  <a:lnTo>
                    <a:pt x="661990" y="528499"/>
                  </a:lnTo>
                  <a:lnTo>
                    <a:pt x="661990" y="532231"/>
                  </a:lnTo>
                  <a:lnTo>
                    <a:pt x="661990" y="538297"/>
                  </a:lnTo>
                  <a:lnTo>
                    <a:pt x="661990" y="538340"/>
                  </a:lnTo>
                  <a:lnTo>
                    <a:pt x="661990" y="538440"/>
                  </a:lnTo>
                  <a:lnTo>
                    <a:pt x="661990" y="548567"/>
                  </a:lnTo>
                  <a:lnTo>
                    <a:pt x="661990" y="548691"/>
                  </a:lnTo>
                  <a:lnTo>
                    <a:pt x="661990" y="555772"/>
                  </a:lnTo>
                  <a:lnTo>
                    <a:pt x="661990" y="561839"/>
                  </a:lnTo>
                  <a:lnTo>
                    <a:pt x="661990" y="571680"/>
                  </a:lnTo>
                  <a:lnTo>
                    <a:pt x="661990" y="571779"/>
                  </a:lnTo>
                  <a:lnTo>
                    <a:pt x="661990" y="575964"/>
                  </a:lnTo>
                  <a:lnTo>
                    <a:pt x="661990" y="582030"/>
                  </a:lnTo>
                  <a:lnTo>
                    <a:pt x="661990" y="593733"/>
                  </a:lnTo>
                  <a:lnTo>
                    <a:pt x="661990" y="607004"/>
                  </a:lnTo>
                  <a:lnTo>
                    <a:pt x="661990" y="616845"/>
                  </a:lnTo>
                  <a:lnTo>
                    <a:pt x="661990" y="616945"/>
                  </a:lnTo>
                  <a:lnTo>
                    <a:pt x="661990" y="627195"/>
                  </a:lnTo>
                  <a:lnTo>
                    <a:pt x="661990" y="637466"/>
                  </a:lnTo>
                  <a:lnTo>
                    <a:pt x="661990" y="650737"/>
                  </a:lnTo>
                  <a:lnTo>
                    <a:pt x="661990" y="660578"/>
                  </a:lnTo>
                  <a:lnTo>
                    <a:pt x="661990" y="660678"/>
                  </a:lnTo>
                  <a:lnTo>
                    <a:pt x="661990" y="670928"/>
                  </a:lnTo>
                  <a:lnTo>
                    <a:pt x="0" y="742371"/>
                  </a:lnTo>
                  <a:lnTo>
                    <a:pt x="0" y="722180"/>
                  </a:lnTo>
                  <a:lnTo>
                    <a:pt x="0" y="698638"/>
                  </a:lnTo>
                  <a:lnTo>
                    <a:pt x="0" y="678447"/>
                  </a:lnTo>
                  <a:lnTo>
                    <a:pt x="0" y="660678"/>
                  </a:lnTo>
                  <a:lnTo>
                    <a:pt x="0" y="660578"/>
                  </a:lnTo>
                  <a:lnTo>
                    <a:pt x="0" y="653473"/>
                  </a:lnTo>
                  <a:lnTo>
                    <a:pt x="0" y="633282"/>
                  </a:lnTo>
                  <a:lnTo>
                    <a:pt x="0" y="620133"/>
                  </a:lnTo>
                  <a:lnTo>
                    <a:pt x="0" y="616945"/>
                  </a:lnTo>
                  <a:lnTo>
                    <a:pt x="0" y="616845"/>
                  </a:lnTo>
                  <a:lnTo>
                    <a:pt x="0" y="609740"/>
                  </a:lnTo>
                  <a:lnTo>
                    <a:pt x="0" y="599943"/>
                  </a:lnTo>
                  <a:lnTo>
                    <a:pt x="0" y="589549"/>
                  </a:lnTo>
                  <a:lnTo>
                    <a:pt x="0" y="576400"/>
                  </a:lnTo>
                  <a:lnTo>
                    <a:pt x="0" y="571779"/>
                  </a:lnTo>
                  <a:lnTo>
                    <a:pt x="0" y="571680"/>
                  </a:lnTo>
                  <a:lnTo>
                    <a:pt x="0" y="556210"/>
                  </a:lnTo>
                  <a:lnTo>
                    <a:pt x="0" y="538440"/>
                  </a:lnTo>
                  <a:lnTo>
                    <a:pt x="0" y="538340"/>
                  </a:lnTo>
                  <a:lnTo>
                    <a:pt x="0" y="531235"/>
                  </a:lnTo>
                  <a:lnTo>
                    <a:pt x="0" y="528046"/>
                  </a:lnTo>
                  <a:lnTo>
                    <a:pt x="0" y="527947"/>
                  </a:lnTo>
                  <a:lnTo>
                    <a:pt x="0" y="511044"/>
                  </a:lnTo>
                  <a:lnTo>
                    <a:pt x="0" y="494707"/>
                  </a:lnTo>
                  <a:lnTo>
                    <a:pt x="0" y="494607"/>
                  </a:lnTo>
                  <a:lnTo>
                    <a:pt x="0" y="487502"/>
                  </a:lnTo>
                  <a:lnTo>
                    <a:pt x="0" y="467311"/>
                  </a:lnTo>
                  <a:lnTo>
                    <a:pt x="0" y="449542"/>
                  </a:lnTo>
                  <a:lnTo>
                    <a:pt x="0" y="449442"/>
                  </a:lnTo>
                  <a:lnTo>
                    <a:pt x="0" y="405809"/>
                  </a:lnTo>
                  <a:lnTo>
                    <a:pt x="0" y="405709"/>
                  </a:lnTo>
                  <a:lnTo>
                    <a:pt x="0" y="342567"/>
                  </a:lnTo>
                  <a:lnTo>
                    <a:pt x="0" y="337223"/>
                  </a:lnTo>
                  <a:lnTo>
                    <a:pt x="0" y="317033"/>
                  </a:lnTo>
                  <a:lnTo>
                    <a:pt x="0" y="298834"/>
                  </a:lnTo>
                  <a:lnTo>
                    <a:pt x="0" y="293490"/>
                  </a:lnTo>
                  <a:lnTo>
                    <a:pt x="0" y="273300"/>
                  </a:lnTo>
                  <a:lnTo>
                    <a:pt x="0" y="253669"/>
                  </a:lnTo>
                  <a:lnTo>
                    <a:pt x="0" y="248325"/>
                  </a:lnTo>
                  <a:lnTo>
                    <a:pt x="0" y="228134"/>
                  </a:lnTo>
                  <a:lnTo>
                    <a:pt x="0" y="220329"/>
                  </a:lnTo>
                  <a:lnTo>
                    <a:pt x="0" y="214986"/>
                  </a:lnTo>
                  <a:lnTo>
                    <a:pt x="0" y="209936"/>
                  </a:lnTo>
                  <a:lnTo>
                    <a:pt x="0" y="204592"/>
                  </a:lnTo>
                  <a:lnTo>
                    <a:pt x="0" y="194795"/>
                  </a:lnTo>
                  <a:lnTo>
                    <a:pt x="0" y="184401"/>
                  </a:lnTo>
                  <a:lnTo>
                    <a:pt x="0" y="176596"/>
                  </a:lnTo>
                  <a:lnTo>
                    <a:pt x="0" y="171253"/>
                  </a:lnTo>
                  <a:lnTo>
                    <a:pt x="0" y="151062"/>
                  </a:lnTo>
                  <a:lnTo>
                    <a:pt x="0" y="131431"/>
                  </a:lnTo>
                  <a:lnTo>
                    <a:pt x="0" y="126087"/>
                  </a:lnTo>
                  <a:lnTo>
                    <a:pt x="0" y="105897"/>
                  </a:lnTo>
                  <a:lnTo>
                    <a:pt x="0" y="87698"/>
                  </a:lnTo>
                  <a:lnTo>
                    <a:pt x="0" y="82354"/>
                  </a:lnTo>
                  <a:lnTo>
                    <a:pt x="0" y="71443"/>
                  </a:lnTo>
                  <a:lnTo>
                    <a:pt x="661990" y="0"/>
                  </a:lnTo>
                  <a:close/>
                </a:path>
              </a:pathLst>
            </a:custGeom>
            <a:solidFill>
              <a:schemeClr val="tx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>
                <a:solidFill>
                  <a:srgbClr val="FFFFFF"/>
                </a:solidFill>
              </a:endParaRPr>
            </a:p>
          </p:txBody>
        </p:sp>
        <p:sp>
          <p:nvSpPr>
            <p:cNvPr id="12" name="Freeform 57">
              <a:extLst>
                <a:ext uri="{FF2B5EF4-FFF2-40B4-BE49-F238E27FC236}">
                  <a16:creationId xmlns:a16="http://schemas.microsoft.com/office/drawing/2014/main" id="{9DC62BE5-38F4-491A-A8B5-17BBD1C36C3B}"/>
                </a:ext>
              </a:extLst>
            </p:cNvPr>
            <p:cNvSpPr/>
            <p:nvPr/>
          </p:nvSpPr>
          <p:spPr>
            <a:xfrm>
              <a:off x="102758" y="518040"/>
              <a:ext cx="446364" cy="370116"/>
            </a:xfrm>
            <a:custGeom>
              <a:avLst/>
              <a:gdLst>
                <a:gd name="connsiteX0" fmla="*/ 864062 w 1541024"/>
                <a:gd name="connsiteY0" fmla="*/ 659654 h 1277788"/>
                <a:gd name="connsiteX1" fmla="*/ 864062 w 1541024"/>
                <a:gd name="connsiteY1" fmla="*/ 860395 h 1277788"/>
                <a:gd name="connsiteX2" fmla="*/ 1193557 w 1541024"/>
                <a:gd name="connsiteY2" fmla="*/ 1277788 h 1277788"/>
                <a:gd name="connsiteX3" fmla="*/ 1023322 w 1541024"/>
                <a:gd name="connsiteY3" fmla="*/ 1277788 h 1277788"/>
                <a:gd name="connsiteX4" fmla="*/ 772730 w 1541024"/>
                <a:gd name="connsiteY4" fmla="*/ 969628 h 1277788"/>
                <a:gd name="connsiteX5" fmla="*/ 515072 w 1541024"/>
                <a:gd name="connsiteY5" fmla="*/ 1277788 h 1277788"/>
                <a:gd name="connsiteX6" fmla="*/ 348481 w 1541024"/>
                <a:gd name="connsiteY6" fmla="*/ 1277788 h 1277788"/>
                <a:gd name="connsiteX7" fmla="*/ 73767 w 1541024"/>
                <a:gd name="connsiteY7" fmla="*/ 110090 h 1277788"/>
                <a:gd name="connsiteX8" fmla="*/ 120468 w 1541024"/>
                <a:gd name="connsiteY8" fmla="*/ 110090 h 1277788"/>
                <a:gd name="connsiteX9" fmla="*/ 197147 w 1541024"/>
                <a:gd name="connsiteY9" fmla="*/ 110090 h 1277788"/>
                <a:gd name="connsiteX10" fmla="*/ 243848 w 1541024"/>
                <a:gd name="connsiteY10" fmla="*/ 110090 h 1277788"/>
                <a:gd name="connsiteX11" fmla="*/ 604999 w 1541024"/>
                <a:gd name="connsiteY11" fmla="*/ 554209 h 1277788"/>
                <a:gd name="connsiteX12" fmla="*/ 606639 w 1541024"/>
                <a:gd name="connsiteY12" fmla="*/ 552248 h 1277788"/>
                <a:gd name="connsiteX13" fmla="*/ 606639 w 1541024"/>
                <a:gd name="connsiteY13" fmla="*/ 556799 h 1277788"/>
                <a:gd name="connsiteX14" fmla="*/ 785619 w 1541024"/>
                <a:gd name="connsiteY14" fmla="*/ 556799 h 1277788"/>
                <a:gd name="connsiteX15" fmla="*/ 178537 w 1541024"/>
                <a:gd name="connsiteY15" fmla="*/ 1277788 h 1277788"/>
                <a:gd name="connsiteX16" fmla="*/ 0 w 1541024"/>
                <a:gd name="connsiteY16" fmla="*/ 1277788 h 1277788"/>
                <a:gd name="connsiteX17" fmla="*/ 518776 w 1541024"/>
                <a:gd name="connsiteY17" fmla="*/ 657332 h 1277788"/>
                <a:gd name="connsiteX18" fmla="*/ 1254950 w 1541024"/>
                <a:gd name="connsiteY18" fmla="*/ 0 h 1277788"/>
                <a:gd name="connsiteX19" fmla="*/ 1540882 w 1541024"/>
                <a:gd name="connsiteY19" fmla="*/ 1617 h 1277788"/>
                <a:gd name="connsiteX20" fmla="*/ 1540882 w 1541024"/>
                <a:gd name="connsiteY20" fmla="*/ 248990 h 1277788"/>
                <a:gd name="connsiteX21" fmla="*/ 1430167 w 1541024"/>
                <a:gd name="connsiteY21" fmla="*/ 382287 h 1277788"/>
                <a:gd name="connsiteX22" fmla="*/ 1430889 w 1541024"/>
                <a:gd name="connsiteY22" fmla="*/ 183643 h 1277788"/>
                <a:gd name="connsiteX23" fmla="*/ 971851 w 1541024"/>
                <a:gd name="connsiteY23" fmla="*/ 743721 h 1277788"/>
                <a:gd name="connsiteX24" fmla="*/ 969253 w 1541024"/>
                <a:gd name="connsiteY24" fmla="*/ 338709 h 1277788"/>
                <a:gd name="connsiteX25" fmla="*/ 869321 w 1541024"/>
                <a:gd name="connsiteY25" fmla="*/ 460763 h 1277788"/>
                <a:gd name="connsiteX26" fmla="*/ 701714 w 1541024"/>
                <a:gd name="connsiteY26" fmla="*/ 457588 h 1277788"/>
                <a:gd name="connsiteX27" fmla="*/ 850362 w 1541024"/>
                <a:gd name="connsiteY27" fmla="*/ 260755 h 1277788"/>
                <a:gd name="connsiteX28" fmla="*/ 696283 w 1541024"/>
                <a:gd name="connsiteY28" fmla="*/ 260755 h 1277788"/>
                <a:gd name="connsiteX29" fmla="*/ 793316 w 1541024"/>
                <a:gd name="connsiteY29" fmla="*/ 151345 h 1277788"/>
                <a:gd name="connsiteX30" fmla="*/ 1079246 w 1541024"/>
                <a:gd name="connsiteY30" fmla="*/ 153546 h 1277788"/>
                <a:gd name="connsiteX31" fmla="*/ 1079246 w 1541024"/>
                <a:gd name="connsiteY31" fmla="*/ 276648 h 1277788"/>
                <a:gd name="connsiteX32" fmla="*/ 1079246 w 1541024"/>
                <a:gd name="connsiteY32" fmla="*/ 393065 h 1277788"/>
                <a:gd name="connsiteX33" fmla="*/ 1326301 w 1541024"/>
                <a:gd name="connsiteY33" fmla="*/ 109410 h 1277788"/>
                <a:gd name="connsiteX34" fmla="*/ 1157919 w 1541024"/>
                <a:gd name="connsiteY34" fmla="*/ 109410 h 127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41024" h="1277788">
                  <a:moveTo>
                    <a:pt x="864062" y="659654"/>
                  </a:moveTo>
                  <a:lnTo>
                    <a:pt x="864062" y="860395"/>
                  </a:lnTo>
                  <a:lnTo>
                    <a:pt x="1193557" y="1277788"/>
                  </a:lnTo>
                  <a:lnTo>
                    <a:pt x="1023322" y="1277788"/>
                  </a:lnTo>
                  <a:lnTo>
                    <a:pt x="772730" y="969628"/>
                  </a:lnTo>
                  <a:lnTo>
                    <a:pt x="515072" y="1277788"/>
                  </a:lnTo>
                  <a:lnTo>
                    <a:pt x="348481" y="1277788"/>
                  </a:lnTo>
                  <a:close/>
                  <a:moveTo>
                    <a:pt x="73767" y="110090"/>
                  </a:moveTo>
                  <a:lnTo>
                    <a:pt x="120468" y="110090"/>
                  </a:lnTo>
                  <a:lnTo>
                    <a:pt x="197147" y="110090"/>
                  </a:lnTo>
                  <a:lnTo>
                    <a:pt x="243848" y="110090"/>
                  </a:lnTo>
                  <a:lnTo>
                    <a:pt x="604999" y="554209"/>
                  </a:lnTo>
                  <a:lnTo>
                    <a:pt x="606639" y="552248"/>
                  </a:lnTo>
                  <a:lnTo>
                    <a:pt x="606639" y="556799"/>
                  </a:lnTo>
                  <a:lnTo>
                    <a:pt x="785619" y="556799"/>
                  </a:lnTo>
                  <a:lnTo>
                    <a:pt x="178537" y="1277788"/>
                  </a:lnTo>
                  <a:lnTo>
                    <a:pt x="0" y="1277788"/>
                  </a:lnTo>
                  <a:lnTo>
                    <a:pt x="518776" y="657332"/>
                  </a:lnTo>
                  <a:close/>
                  <a:moveTo>
                    <a:pt x="1254950" y="0"/>
                  </a:moveTo>
                  <a:lnTo>
                    <a:pt x="1540882" y="1617"/>
                  </a:lnTo>
                  <a:cubicBezTo>
                    <a:pt x="1540388" y="86493"/>
                    <a:pt x="1541375" y="164114"/>
                    <a:pt x="1540882" y="248990"/>
                  </a:cubicBezTo>
                  <a:lnTo>
                    <a:pt x="1430167" y="382287"/>
                  </a:lnTo>
                  <a:cubicBezTo>
                    <a:pt x="1430407" y="316072"/>
                    <a:pt x="1430649" y="249858"/>
                    <a:pt x="1430889" y="183643"/>
                  </a:cubicBezTo>
                  <a:lnTo>
                    <a:pt x="971851" y="743721"/>
                  </a:lnTo>
                  <a:cubicBezTo>
                    <a:pt x="973102" y="609775"/>
                    <a:pt x="968002" y="472655"/>
                    <a:pt x="969253" y="338709"/>
                  </a:cubicBezTo>
                  <a:lnTo>
                    <a:pt x="869321" y="460763"/>
                  </a:lnTo>
                  <a:lnTo>
                    <a:pt x="701714" y="457588"/>
                  </a:lnTo>
                  <a:lnTo>
                    <a:pt x="850362" y="260755"/>
                  </a:lnTo>
                  <a:lnTo>
                    <a:pt x="696283" y="260755"/>
                  </a:lnTo>
                  <a:lnTo>
                    <a:pt x="793316" y="151345"/>
                  </a:lnTo>
                  <a:lnTo>
                    <a:pt x="1079246" y="153546"/>
                  </a:lnTo>
                  <a:lnTo>
                    <a:pt x="1079246" y="276648"/>
                  </a:lnTo>
                  <a:lnTo>
                    <a:pt x="1079246" y="393065"/>
                  </a:lnTo>
                  <a:lnTo>
                    <a:pt x="1326301" y="109410"/>
                  </a:lnTo>
                  <a:lnTo>
                    <a:pt x="1157919" y="10941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>
              <a:noAutofit/>
            </a:bodyPr>
            <a:lstStyle/>
            <a:p>
              <a:pPr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>
                <a:solidFill>
                  <a:srgbClr val="FFFFFF"/>
                </a:solidFill>
              </a:endParaRPr>
            </a:p>
          </p:txBody>
        </p:sp>
      </p:grp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F5271990-9DBD-4A7E-9EAB-D14ED5AB65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333692"/>
            <a:ext cx="10658475" cy="680356"/>
          </a:xfrm>
          <a:prstGeom prst="rect">
            <a:avLst/>
          </a:prstGeom>
          <a:noFill/>
        </p:spPr>
        <p:txBody>
          <a:bodyPr vert="horz" wrap="square" lIns="144000" tIns="0" rIns="144000" bIns="0" rtlCol="0" anchor="ctr">
            <a:normAutofit/>
          </a:bodyPr>
          <a:lstStyle/>
          <a:p>
            <a:r>
              <a:rPr lang="de-DE" noProof="0"/>
              <a:t>Titel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59B4537D-9875-4949-B8E3-5C5D65F896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6763" y="6510334"/>
            <a:ext cx="187552" cy="2462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E6101334-2212-47E5-96F0-086CB39DE767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23" name="Footer Placeholder 22">
            <a:extLst>
              <a:ext uri="{FF2B5EF4-FFF2-40B4-BE49-F238E27FC236}">
                <a16:creationId xmlns:a16="http://schemas.microsoft.com/office/drawing/2014/main" id="{738C50A1-844A-4A6E-A7A4-153602C530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70509" y="6511755"/>
            <a:ext cx="7526083" cy="244800"/>
          </a:xfrm>
          <a:prstGeom prst="rect">
            <a:avLst/>
          </a:prstGeom>
        </p:spPr>
        <p:txBody>
          <a:bodyPr vert="horz" wrap="square" lIns="0" tIns="0" rIns="0" bIns="0" rtlCol="0" anchor="ctr" anchorCtr="0"/>
          <a:lstStyle>
            <a:lvl1pPr algn="l">
              <a:defRPr sz="800" baseline="0"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</a:rPr>
              <a:t>Abteilung | Verfasser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F681A92B-F880-459D-A1CB-D2A6791E0F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3" y="1196974"/>
            <a:ext cx="10658475" cy="52562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de-DE" noProof="0" dirty="0"/>
              <a:t>Ebene 1</a:t>
            </a:r>
          </a:p>
          <a:p>
            <a:pPr lvl="1"/>
            <a:r>
              <a:rPr lang="de-DE" noProof="0" dirty="0"/>
              <a:t>Ebene 2</a:t>
            </a:r>
          </a:p>
          <a:p>
            <a:pPr lvl="2"/>
            <a:r>
              <a:rPr lang="de-DE" noProof="0" dirty="0"/>
              <a:t>Ebene 3</a:t>
            </a:r>
          </a:p>
          <a:p>
            <a:pPr lvl="3"/>
            <a:r>
              <a:rPr lang="de-DE" noProof="0" dirty="0"/>
              <a:t>Ebene 4</a:t>
            </a:r>
          </a:p>
          <a:p>
            <a:pPr lvl="4"/>
            <a:r>
              <a:rPr lang="de-DE" noProof="0" dirty="0"/>
              <a:t>Ebene 5</a:t>
            </a:r>
          </a:p>
        </p:txBody>
      </p:sp>
    </p:spTree>
    <p:extLst>
      <p:ext uri="{BB962C8B-B14F-4D97-AF65-F5344CB8AC3E}">
        <p14:creationId xmlns:p14="http://schemas.microsoft.com/office/powerpoint/2010/main" val="1581348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9" r:id="rId1"/>
    <p:sldLayoutId id="2147484050" r:id="rId2"/>
    <p:sldLayoutId id="2147484051" r:id="rId3"/>
    <p:sldLayoutId id="2147484052" r:id="rId4"/>
    <p:sldLayoutId id="2147484053" r:id="rId5"/>
    <p:sldLayoutId id="2147484054" r:id="rId6"/>
    <p:sldLayoutId id="2147484055" r:id="rId7"/>
    <p:sldLayoutId id="2147484056" r:id="rId8"/>
    <p:sldLayoutId id="2147484057" r:id="rId9"/>
    <p:sldLayoutId id="2147484058" r:id="rId10"/>
    <p:sldLayoutId id="2147484059" r:id="rId11"/>
    <p:sldLayoutId id="2147484060" r:id="rId12"/>
    <p:sldLayoutId id="2147484061" r:id="rId13"/>
    <p:sldLayoutId id="2147484062" r:id="rId14"/>
    <p:sldLayoutId id="2147484063" r:id="rId15"/>
    <p:sldLayoutId id="2147484064" r:id="rId16"/>
    <p:sldLayoutId id="2147484065" r:id="rId17"/>
    <p:sldLayoutId id="2147484066" r:id="rId18"/>
    <p:sldLayoutId id="2147484067" r:id="rId19"/>
    <p:sldLayoutId id="2147484068" r:id="rId20"/>
    <p:sldLayoutId id="2147484069" r:id="rId21"/>
    <p:sldLayoutId id="2147484070" r:id="rId22"/>
    <p:sldLayoutId id="2147484071" r:id="rId23"/>
    <p:sldLayoutId id="2147484072" r:id="rId24"/>
    <p:sldLayoutId id="2147484073" r:id="rId25"/>
    <p:sldLayoutId id="2147484074" r:id="rId26"/>
    <p:sldLayoutId id="2147484075" r:id="rId27"/>
    <p:sldLayoutId id="2147484076" r:id="rId28"/>
    <p:sldLayoutId id="2147484077" r:id="rId29"/>
    <p:sldLayoutId id="2147484078" r:id="rId30"/>
    <p:sldLayoutId id="2147484079" r:id="rId31"/>
    <p:sldLayoutId id="2147484080" r:id="rId32"/>
    <p:sldLayoutId id="2147484081" r:id="rId33"/>
    <p:sldLayoutId id="2147484082" r:id="rId34"/>
    <p:sldLayoutId id="2147484083" r:id="rId35"/>
    <p:sldLayoutId id="2147484084" r:id="rId36"/>
    <p:sldLayoutId id="2147484085" r:id="rId37"/>
    <p:sldLayoutId id="2147484086" r:id="rId38"/>
    <p:sldLayoutId id="2147484087" r:id="rId39"/>
    <p:sldLayoutId id="2147484088" r:id="rId40"/>
    <p:sldLayoutId id="2147484089" r:id="rId41"/>
    <p:sldLayoutId id="2147484090" r:id="rId42"/>
    <p:sldLayoutId id="2147484091" r:id="rId43"/>
    <p:sldLayoutId id="2147484092" r:id="rId4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8775" indent="-358775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&gt;"/>
        <a:defRPr sz="1400" kern="600" spc="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71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bg1">
            <a:lumMod val="65000"/>
          </a:schemeClr>
        </a:buClr>
        <a:buFont typeface="Arial" panose="020B0604020202020204" pitchFamily="34" charset="0"/>
        <a:buChar char="&gt;"/>
        <a:defRPr sz="1400" kern="600" spc="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360363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SzPct val="150000"/>
        <a:buFontTx/>
        <a:buBlip>
          <a:blip r:embed="rId52"/>
        </a:buBlip>
        <a:defRPr sz="1400" kern="600" spc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400" kern="600" spc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400" b="1" kern="600" cap="none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400" kern="600" spc="40" baseline="0">
          <a:solidFill>
            <a:schemeClr val="accent6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65">
          <p15:clr>
            <a:srgbClr val="F26B43"/>
          </p15:clr>
        </p15:guide>
        <p15:guide id="2" pos="483">
          <p15:clr>
            <a:srgbClr val="F26B43"/>
          </p15:clr>
        </p15:guide>
        <p15:guide id="3" pos="7197">
          <p15:clr>
            <a:srgbClr val="F26B43"/>
          </p15:clr>
        </p15:guide>
        <p15:guide id="4" orient="horz" pos="754">
          <p15:clr>
            <a:srgbClr val="F26B43"/>
          </p15:clr>
        </p15:guide>
        <p15:guide id="5" orient="horz" pos="210">
          <p15:clr>
            <a:srgbClr val="F26B43"/>
          </p15:clr>
        </p15:guide>
        <p15:guide id="6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8.png"/><Relationship Id="rId7" Type="http://schemas.microsoft.com/office/2007/relationships/hdphoto" Target="../media/hdphoto1.wdp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9.svg"/><Relationship Id="rId9" Type="http://schemas.openxmlformats.org/officeDocument/2006/relationships/image" Target="../media/image22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280.xml"/><Relationship Id="rId1" Type="http://schemas.openxmlformats.org/officeDocument/2006/relationships/vmlDrawing" Target="../drawings/vmlDrawing1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6.bin"/><Relationship Id="rId4" Type="http://schemas.openxmlformats.org/officeDocument/2006/relationships/notesSlide" Target="../notesSlides/notesSlide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nextfarming.de/hilfe/next-machine-management/einrichtung-inkl-agrirouter/" TargetMode="External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4.xml"/><Relationship Id="rId4" Type="http://schemas.openxmlformats.org/officeDocument/2006/relationships/hyperlink" Target="https://www.nextfarming.de/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2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2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34.png"/><Relationship Id="rId2" Type="http://schemas.openxmlformats.org/officeDocument/2006/relationships/tags" Target="../tags/tag278.xml"/><Relationship Id="rId1" Type="http://schemas.openxmlformats.org/officeDocument/2006/relationships/vmlDrawing" Target="../drawings/vmlDrawing1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6.bin"/><Relationship Id="rId4" Type="http://schemas.openxmlformats.org/officeDocument/2006/relationships/notesSlide" Target="../notesSlides/notesSlide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35.png"/><Relationship Id="rId2" Type="http://schemas.openxmlformats.org/officeDocument/2006/relationships/tags" Target="../tags/tag279.xml"/><Relationship Id="rId1" Type="http://schemas.openxmlformats.org/officeDocument/2006/relationships/vmlDrawing" Target="../drawings/vmlDrawing1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6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atenanbindung</a:t>
            </a:r>
            <a:r>
              <a:rPr lang="en-US" dirty="0"/>
              <a:t> via </a:t>
            </a:r>
          </a:p>
        </p:txBody>
      </p:sp>
      <p:pic>
        <p:nvPicPr>
          <p:cNvPr id="41" name="Grafik 4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71162" y="50972"/>
            <a:ext cx="796334" cy="796334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E5526DB0-7973-EA56-93DA-63198418B82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99363" y="392896"/>
            <a:ext cx="2203815" cy="561948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C6FF0084-6D36-5255-E468-F209A22700E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0308" b="-968"/>
          <a:stretch/>
        </p:blipFill>
        <p:spPr>
          <a:xfrm>
            <a:off x="766763" y="1011910"/>
            <a:ext cx="10658475" cy="5546493"/>
          </a:xfrm>
          <a:prstGeom prst="rect">
            <a:avLst/>
          </a:prstGeom>
        </p:spPr>
      </p:pic>
      <p:pic>
        <p:nvPicPr>
          <p:cNvPr id="48" name="Grafik 47" descr="Ein Bild, das Frosch enthält.&#10;&#10;Automatisch generierte Beschreibung">
            <a:extLst>
              <a:ext uri="{FF2B5EF4-FFF2-40B4-BE49-F238E27FC236}">
                <a16:creationId xmlns:a16="http://schemas.microsoft.com/office/drawing/2014/main" id="{87CBA044-65D9-4D95-9B07-BAB6CE24B37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9916" b="89910" l="9991" r="92897">
                        <a14:foregroundMark x1="90228" y1="17084" x2="93818" y2="22895"/>
                        <a14:foregroundMark x1="93818" y1="22895" x2="91321" y2="29715"/>
                        <a14:foregroundMark x1="91321" y1="29715" x2="88589" y2="23138"/>
                        <a14:foregroundMark x1="88589" y1="23138" x2="90306" y2="18650"/>
                        <a14:foregroundMark x1="91243" y1="18302" x2="94380" y2="26270"/>
                        <a14:foregroundMark x1="94380" y1="26270" x2="90259" y2="22930"/>
                        <a14:foregroundMark x1="90259" y1="22930" x2="91243" y2="18128"/>
                        <a14:foregroundMark x1="92507" y1="20042" x2="92897" y2="20390"/>
                      </a14:backgroundRemoval>
                    </a14:imgEffect>
                  </a14:imgLayer>
                </a14:imgProps>
              </a:ext>
            </a:extLst>
          </a:blip>
          <a:srcRect l="33398" r="4872"/>
          <a:stretch/>
        </p:blipFill>
        <p:spPr>
          <a:xfrm>
            <a:off x="3668995" y="4994926"/>
            <a:ext cx="3949910" cy="2025792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3C57B37B-C0D9-85B1-E50A-403991AACF3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389150" y="-77841"/>
            <a:ext cx="1019309" cy="105571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8" name="Grafik 27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1A223C46-BFD7-6C68-F4A2-2A75D2B45AB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82389" y="4634863"/>
            <a:ext cx="3804592" cy="72012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2064260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566406E-0724-4107-AA7B-FEA4164C17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1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566406E-0724-4107-AA7B-FEA4164C17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ihandform: Form 102">
            <a:extLst>
              <a:ext uri="{FF2B5EF4-FFF2-40B4-BE49-F238E27FC236}">
                <a16:creationId xmlns:a16="http://schemas.microsoft.com/office/drawing/2014/main" id="{FE0B49D1-8714-499B-8A53-DDB6A636B32B}"/>
              </a:ext>
            </a:extLst>
          </p:cNvPr>
          <p:cNvSpPr/>
          <p:nvPr/>
        </p:nvSpPr>
        <p:spPr>
          <a:xfrm>
            <a:off x="5139388" y="6177644"/>
            <a:ext cx="7052612" cy="680356"/>
          </a:xfrm>
          <a:custGeom>
            <a:avLst/>
            <a:gdLst>
              <a:gd name="connsiteX0" fmla="*/ 7052612 w 7052612"/>
              <a:gd name="connsiteY0" fmla="*/ 0 h 680356"/>
              <a:gd name="connsiteX1" fmla="*/ 7052612 w 7052612"/>
              <a:gd name="connsiteY1" fmla="*/ 256482 h 680356"/>
              <a:gd name="connsiteX2" fmla="*/ 2658708 w 7052612"/>
              <a:gd name="connsiteY2" fmla="*/ 680356 h 680356"/>
              <a:gd name="connsiteX3" fmla="*/ 0 w 7052612"/>
              <a:gd name="connsiteY3" fmla="*/ 680356 h 6803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52612" h="680356">
                <a:moveTo>
                  <a:pt x="7052612" y="0"/>
                </a:moveTo>
                <a:lnTo>
                  <a:pt x="7052612" y="256482"/>
                </a:lnTo>
                <a:lnTo>
                  <a:pt x="2658708" y="680356"/>
                </a:lnTo>
                <a:lnTo>
                  <a:pt x="0" y="680356"/>
                </a:lnTo>
                <a:close/>
              </a:path>
            </a:pathLst>
          </a:cu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85EBDD-E926-CC43-BC40-16889CC6D1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333692"/>
            <a:ext cx="10658475" cy="680356"/>
          </a:xfrm>
        </p:spPr>
        <p:txBody>
          <a:bodyPr/>
          <a:lstStyle/>
          <a:p>
            <a:r>
              <a:rPr lang="de-DE" dirty="0" smtClean="0"/>
              <a:t>Ende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99E34C-AB0D-FD41-9F26-29EBA4E8197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66763" y="6571889"/>
            <a:ext cx="187552" cy="123111"/>
          </a:xfrm>
        </p:spPr>
        <p:txBody>
          <a:bodyPr/>
          <a:lstStyle/>
          <a:p>
            <a:fld id="{E6101334-2212-47E5-96F0-086CB39DE767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45FEA8-DE1C-CD46-AF58-35C12A0FA4F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bteilung | Verfasser</a:t>
            </a:r>
            <a:endParaRPr lang="de-DE" dirty="0"/>
          </a:p>
        </p:txBody>
      </p:sp>
      <p:sp>
        <p:nvSpPr>
          <p:cNvPr id="14" name="Rectangle 171">
            <a:extLst>
              <a:ext uri="{FF2B5EF4-FFF2-40B4-BE49-F238E27FC236}">
                <a16:creationId xmlns:a16="http://schemas.microsoft.com/office/drawing/2014/main" id="{E19E0240-8EAC-A44F-A087-6B49B1CD6C79}"/>
              </a:ext>
            </a:extLst>
          </p:cNvPr>
          <p:cNvSpPr/>
          <p:nvPr/>
        </p:nvSpPr>
        <p:spPr>
          <a:xfrm>
            <a:off x="7997969" y="1446092"/>
            <a:ext cx="3427269" cy="4524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Pct val="100000"/>
              <a:defRPr/>
            </a:pPr>
            <a:r>
              <a:rPr lang="de-DE" sz="1300" dirty="0">
                <a:solidFill>
                  <a:schemeClr val="bg1"/>
                </a:solidFill>
                <a:latin typeface="Arial" panose="020B0604020202020204" pitchFamily="34" charset="0"/>
              </a:rPr>
              <a:t>Live Ansicht der Maschinenposition und Maschinendaten</a:t>
            </a:r>
          </a:p>
        </p:txBody>
      </p:sp>
    </p:spTree>
    <p:extLst>
      <p:ext uri="{BB962C8B-B14F-4D97-AF65-F5344CB8AC3E}">
        <p14:creationId xmlns:p14="http://schemas.microsoft.com/office/powerpoint/2010/main" val="2045710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EDC75F57-94BC-984A-9AAD-5ACB1EE31B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oraussetzungen</a:t>
            </a:r>
            <a:endParaRPr lang="de-DE" dirty="0"/>
          </a:p>
        </p:txBody>
      </p:sp>
      <p:sp>
        <p:nvSpPr>
          <p:cNvPr id="2" name="Textfeld 1"/>
          <p:cNvSpPr txBox="1"/>
          <p:nvPr/>
        </p:nvSpPr>
        <p:spPr>
          <a:xfrm>
            <a:off x="1188720" y="1881051"/>
            <a:ext cx="8484326" cy="374555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l">
              <a:spcAft>
                <a:spcPts val="1200"/>
              </a:spcAft>
              <a:buClr>
                <a:schemeClr val="tx2"/>
              </a:buClr>
            </a:pPr>
            <a:r>
              <a:rPr lang="de-DE" sz="1400" b="1" kern="600" dirty="0" smtClean="0"/>
              <a:t>Voraussetzungen</a:t>
            </a:r>
          </a:p>
          <a:p>
            <a:pPr marL="285750" indent="-285750" algn="l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400" kern="600" dirty="0" smtClean="0"/>
              <a:t>NEXT </a:t>
            </a:r>
            <a:r>
              <a:rPr lang="de-DE" sz="1400" kern="600" dirty="0" err="1" smtClean="0"/>
              <a:t>Farming</a:t>
            </a:r>
            <a:r>
              <a:rPr lang="de-DE" sz="1400" kern="600" dirty="0" smtClean="0"/>
              <a:t> Live-Account mit NEXT Machine Management Freischaltung</a:t>
            </a:r>
          </a:p>
          <a:p>
            <a:pPr marL="285750" indent="-285750" algn="l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400" kern="600" dirty="0" smtClean="0"/>
              <a:t>AR-Account:</a:t>
            </a:r>
          </a:p>
          <a:p>
            <a:pPr marL="742950" lvl="1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400" kern="600" dirty="0" smtClean="0"/>
              <a:t>Registrierung wird durch Nutzer durchgeführt</a:t>
            </a:r>
          </a:p>
          <a:p>
            <a:pPr marL="742950" lvl="1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400" kern="600" dirty="0" smtClean="0"/>
              <a:t>Nach Registrierung sofort vollumfänglich nutzbar</a:t>
            </a:r>
          </a:p>
          <a:p>
            <a:pPr marL="285750" indent="-285750" algn="l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400" kern="600" dirty="0" smtClean="0"/>
              <a:t>zusätzlicher Endpunkt mit AR verbunden</a:t>
            </a:r>
          </a:p>
          <a:p>
            <a:pPr marL="742950" lvl="1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400" kern="600" dirty="0" smtClean="0"/>
              <a:t>Informationen zur Anbindung werden in der Regel durch die Hersteller geliefert</a:t>
            </a:r>
          </a:p>
          <a:p>
            <a:pPr marL="285750" indent="-285750" algn="l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400" kern="600" dirty="0" smtClean="0"/>
              <a:t>Verknüpfung der NMM Lizenz mit Endpunkt</a:t>
            </a:r>
          </a:p>
          <a:p>
            <a:pPr marL="742950" lvl="1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400" kern="600" dirty="0" smtClean="0"/>
              <a:t>Informationen in der Live-</a:t>
            </a:r>
            <a:r>
              <a:rPr lang="de-DE" sz="1400" kern="600" dirty="0" err="1" smtClean="0"/>
              <a:t>Webhelp</a:t>
            </a:r>
            <a:r>
              <a:rPr lang="de-DE" sz="1400" kern="600" dirty="0" smtClean="0"/>
              <a:t> (</a:t>
            </a:r>
            <a:r>
              <a:rPr lang="de-DE" sz="1400" dirty="0" smtClean="0">
                <a:hlinkClick r:id="rId2"/>
              </a:rPr>
              <a:t>Einrichtung </a:t>
            </a:r>
            <a:r>
              <a:rPr lang="de-DE" sz="1400" dirty="0">
                <a:hlinkClick r:id="rId2"/>
              </a:rPr>
              <a:t>inkl. </a:t>
            </a:r>
            <a:r>
              <a:rPr lang="de-DE" sz="1400" dirty="0" err="1">
                <a:hlinkClick r:id="rId2"/>
              </a:rPr>
              <a:t>Agrirouter</a:t>
            </a:r>
            <a:r>
              <a:rPr lang="de-DE" sz="1400" dirty="0">
                <a:hlinkClick r:id="rId2"/>
              </a:rPr>
              <a:t> - NEXT </a:t>
            </a:r>
            <a:r>
              <a:rPr lang="de-DE" sz="1400" dirty="0" err="1" smtClean="0">
                <a:hlinkClick r:id="rId2"/>
              </a:rPr>
              <a:t>Farming</a:t>
            </a:r>
            <a:r>
              <a:rPr lang="de-DE" sz="1400" dirty="0" smtClean="0"/>
              <a:t>)</a:t>
            </a:r>
            <a:endParaRPr lang="de-DE" sz="1400" kern="600" dirty="0" smtClean="0"/>
          </a:p>
        </p:txBody>
      </p:sp>
      <p:sp>
        <p:nvSpPr>
          <p:cNvPr id="3" name="Pfeil nach rechts 2"/>
          <p:cNvSpPr/>
          <p:nvPr/>
        </p:nvSpPr>
        <p:spPr>
          <a:xfrm>
            <a:off x="1641655" y="4119880"/>
            <a:ext cx="182517" cy="111760"/>
          </a:xfrm>
          <a:prstGeom prst="rightArrow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dirty="0" err="1"/>
          </a:p>
        </p:txBody>
      </p:sp>
      <p:sp>
        <p:nvSpPr>
          <p:cNvPr id="5" name="Pfeil nach rechts 4"/>
          <p:cNvSpPr/>
          <p:nvPr/>
        </p:nvSpPr>
        <p:spPr>
          <a:xfrm>
            <a:off x="1633401" y="4858004"/>
            <a:ext cx="182517" cy="111760"/>
          </a:xfrm>
          <a:prstGeom prst="rightArrow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dirty="0" err="1"/>
          </a:p>
        </p:txBody>
      </p:sp>
    </p:spTree>
    <p:extLst>
      <p:ext uri="{BB962C8B-B14F-4D97-AF65-F5344CB8AC3E}">
        <p14:creationId xmlns:p14="http://schemas.microsoft.com/office/powerpoint/2010/main" val="24274050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EDC75F57-94BC-984A-9AAD-5ACB1EE31B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richtung </a:t>
            </a:r>
            <a:r>
              <a:rPr lang="de-DE" dirty="0" smtClean="0"/>
              <a:t>Pro</a:t>
            </a:r>
            <a:endParaRPr lang="de-DE" dirty="0"/>
          </a:p>
        </p:txBody>
      </p:sp>
      <p:pic>
        <p:nvPicPr>
          <p:cNvPr id="25" name="Grafik 24" descr="Ein Bild, das Text enthält.&#10;&#10;Automatisch generierte Beschreibung">
            <a:extLst>
              <a:ext uri="{FF2B5EF4-FFF2-40B4-BE49-F238E27FC236}">
                <a16:creationId xmlns:a16="http://schemas.microsoft.com/office/drawing/2014/main" id="{9283E4D8-0A1F-3E78-3935-BD97141B1A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52718" y="1704224"/>
            <a:ext cx="5524980" cy="3918113"/>
          </a:xfrm>
          <a:prstGeom prst="rect">
            <a:avLst/>
          </a:prstGeom>
        </p:spPr>
      </p:pic>
      <p:sp>
        <p:nvSpPr>
          <p:cNvPr id="2" name="Textfeld 1"/>
          <p:cNvSpPr txBox="1"/>
          <p:nvPr/>
        </p:nvSpPr>
        <p:spPr>
          <a:xfrm>
            <a:off x="600890" y="1704224"/>
            <a:ext cx="5212081" cy="359929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l">
              <a:spcAft>
                <a:spcPts val="1200"/>
              </a:spcAft>
              <a:buClr>
                <a:schemeClr val="tx2"/>
              </a:buClr>
            </a:pPr>
            <a:r>
              <a:rPr lang="de-DE" sz="1400" b="1" kern="600" dirty="0" smtClean="0"/>
              <a:t>Vorbereitung in Pro</a:t>
            </a:r>
            <a:r>
              <a:rPr lang="de-DE" sz="1400" kern="600" dirty="0" smtClean="0"/>
              <a:t>:</a:t>
            </a:r>
          </a:p>
          <a:p>
            <a:pPr algn="l">
              <a:spcAft>
                <a:spcPts val="1200"/>
              </a:spcAft>
              <a:buClr>
                <a:schemeClr val="tx2"/>
              </a:buClr>
            </a:pPr>
            <a:r>
              <a:rPr lang="de-DE" sz="1400" kern="600" dirty="0"/>
              <a:t>	</a:t>
            </a:r>
            <a:r>
              <a:rPr lang="de-DE" sz="1400" kern="600" dirty="0" smtClean="0"/>
              <a:t>Zugangsdaten des Live-Account unter</a:t>
            </a:r>
          </a:p>
          <a:p>
            <a:pPr algn="l">
              <a:spcAft>
                <a:spcPts val="1200"/>
              </a:spcAft>
              <a:buClr>
                <a:schemeClr val="tx2"/>
              </a:buClr>
            </a:pPr>
            <a:r>
              <a:rPr lang="de-DE" sz="1400" kern="600" dirty="0"/>
              <a:t>	</a:t>
            </a:r>
            <a:r>
              <a:rPr lang="de-DE" sz="1400" kern="600" dirty="0" smtClean="0"/>
              <a:t>Datentransfer – Bordcomputer/Handgerät – Einstellungen</a:t>
            </a:r>
            <a:endParaRPr lang="de-DE" sz="1400" kern="600" dirty="0"/>
          </a:p>
          <a:p>
            <a:pPr algn="l">
              <a:spcAft>
                <a:spcPts val="1200"/>
              </a:spcAft>
              <a:buClr>
                <a:schemeClr val="tx2"/>
              </a:buClr>
            </a:pPr>
            <a:r>
              <a:rPr lang="de-DE" sz="1400" kern="600" dirty="0" smtClean="0"/>
              <a:t>	eingeben</a:t>
            </a:r>
          </a:p>
          <a:p>
            <a:pPr algn="l">
              <a:spcAft>
                <a:spcPts val="1200"/>
              </a:spcAft>
              <a:buClr>
                <a:schemeClr val="tx2"/>
              </a:buClr>
            </a:pPr>
            <a:endParaRPr lang="de-DE" sz="1400" kern="600" dirty="0"/>
          </a:p>
          <a:p>
            <a:pPr defTabSz="914400">
              <a:spcAft>
                <a:spcPts val="1200"/>
              </a:spcAft>
              <a:buClr>
                <a:schemeClr val="tx2"/>
              </a:buClr>
            </a:pPr>
            <a:r>
              <a:rPr lang="de-DE" sz="1400" b="1" kern="600" dirty="0"/>
              <a:t>Hinweis:</a:t>
            </a:r>
          </a:p>
          <a:p>
            <a:pPr>
              <a:spcAft>
                <a:spcPts val="1200"/>
              </a:spcAft>
              <a:buClr>
                <a:schemeClr val="tx2"/>
              </a:buClr>
            </a:pPr>
            <a:r>
              <a:rPr lang="de-DE" sz="1400" kern="600" dirty="0" smtClean="0"/>
              <a:t>Bei Eingabe falscher Zugangsdaten erfolgt (aktuell) kein Hinweis.</a:t>
            </a:r>
            <a:endParaRPr lang="de-DE" sz="1400" kern="600" dirty="0"/>
          </a:p>
          <a:p>
            <a:pPr algn="l">
              <a:spcAft>
                <a:spcPts val="1200"/>
              </a:spcAft>
              <a:buClr>
                <a:schemeClr val="tx2"/>
              </a:buClr>
            </a:pPr>
            <a:endParaRPr lang="de-DE" sz="1400" kern="600" dirty="0" smtClean="0"/>
          </a:p>
        </p:txBody>
      </p:sp>
    </p:spTree>
    <p:extLst>
      <p:ext uri="{BB962C8B-B14F-4D97-AF65-F5344CB8AC3E}">
        <p14:creationId xmlns:p14="http://schemas.microsoft.com/office/powerpoint/2010/main" val="2358113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EDC75F57-94BC-984A-9AAD-5ACB1EE31B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richtung </a:t>
            </a:r>
            <a:r>
              <a:rPr lang="de-DE" dirty="0" smtClean="0"/>
              <a:t>Live</a:t>
            </a:r>
            <a:endParaRPr lang="de-DE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034D6CFA-44EF-4F1A-31EF-601E2BEA6A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30163" y="1186035"/>
            <a:ext cx="6768099" cy="4110825"/>
          </a:xfrm>
          <a:prstGeom prst="rect">
            <a:avLst/>
          </a:prstGeom>
        </p:spPr>
      </p:pic>
      <p:sp>
        <p:nvSpPr>
          <p:cNvPr id="5" name="Textplatzhalter 4"/>
          <p:cNvSpPr txBox="1">
            <a:spLocks/>
          </p:cNvSpPr>
          <p:nvPr/>
        </p:nvSpPr>
        <p:spPr>
          <a:xfrm>
            <a:off x="346139" y="1796859"/>
            <a:ext cx="8137091" cy="5256213"/>
          </a:xfrm>
          <a:prstGeom prst="rect">
            <a:avLst/>
          </a:prstGeom>
        </p:spPr>
        <p:txBody>
          <a:bodyPr/>
          <a:lstStyle>
            <a:lvl1pPr marL="358775" indent="-358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&gt;"/>
              <a:defRPr sz="1400" kern="6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5963" indent="-3571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&gt;"/>
              <a:defRPr sz="1400" kern="6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3603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50000"/>
              <a:buFontTx/>
              <a:buBlip>
                <a:blip r:embed="rId3"/>
              </a:buBlip>
              <a:defRPr sz="1400" kern="6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6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b="1" kern="600" cap="none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600" spc="4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AutoNum type="arabicPeriod"/>
            </a:pPr>
            <a:r>
              <a:rPr lang="de-DE" dirty="0" smtClean="0"/>
              <a:t>Eigenen Account erstellen (oder bestehenden Account nutzen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 smtClean="0">
                <a:hlinkClick r:id="rId4"/>
              </a:rPr>
              <a:t>https://www.nextfarming.de/</a:t>
            </a:r>
            <a:endParaRPr lang="de-DE" dirty="0" smtClean="0"/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 smtClean="0"/>
              <a:t>Anmelden / Registrieren für NEXT </a:t>
            </a:r>
            <a:r>
              <a:rPr lang="de-DE" dirty="0" err="1" smtClean="0"/>
              <a:t>Farming</a:t>
            </a:r>
            <a:r>
              <a:rPr lang="de-DE" dirty="0" smtClean="0"/>
              <a:t> (Registrierung, Email bestätigen, Login)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 smtClean="0"/>
              <a:t>In Module Apps und Services auf Kachel „Next </a:t>
            </a:r>
            <a:r>
              <a:rPr lang="de-DE" dirty="0" err="1" smtClean="0"/>
              <a:t>Machine</a:t>
            </a:r>
            <a:r>
              <a:rPr lang="de-DE" dirty="0" smtClean="0"/>
              <a:t> Management“ klicken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 smtClean="0"/>
              <a:t>Freischaltung durchlaufe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 smtClean="0"/>
              <a:t>Code eingebe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 smtClean="0"/>
              <a:t>AR-Account verbinden -&gt; Zugangsdaten legt der Nutzer bei AR-Registrierung fes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 smtClean="0"/>
              <a:t>Lizenz verknüpfen: im Dropdown den entsprechenden Endpunkt auswählen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DE" b="1" dirty="0" smtClean="0"/>
          </a:p>
          <a:p>
            <a:pPr marL="0" indent="0">
              <a:buFont typeface="Arial" panose="020B0604020202020204" pitchFamily="34" charset="0"/>
              <a:buNone/>
            </a:pPr>
            <a:r>
              <a:rPr lang="de-DE" b="1" dirty="0" smtClean="0"/>
              <a:t>Hinweis:</a:t>
            </a:r>
          </a:p>
          <a:p>
            <a:pPr marL="0" indent="0">
              <a:buNone/>
            </a:pPr>
            <a:r>
              <a:rPr lang="de-DE" dirty="0" smtClean="0"/>
              <a:t>Im AR-Account sollten für die Endpunkte eindeutige Bezeichnungen verwendet werden, um Fehler beim Export und Import zu vermeiden, wenn mit mehreren identischen/ähnlichen Maschinen etc. gearbeitet wird.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63762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101334-2212-47E5-96F0-086CB39DE767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bteilung | Verfasser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ideo Anleitung</a:t>
            </a:r>
            <a:endParaRPr lang="de-DE" dirty="0"/>
          </a:p>
        </p:txBody>
      </p:sp>
      <p:pic>
        <p:nvPicPr>
          <p:cNvPr id="11" name="2022-11-10_14h06_56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860538" y="1196974"/>
            <a:ext cx="10600765" cy="5256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82312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1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"/>
                  </p:tgtEl>
                </p:cond>
              </p:nextCondLst>
            </p:seq>
            <p:video>
              <p:cMediaNode vol="97561">
                <p:cTn id="7" fill="hold" display="0">
                  <p:stCondLst>
                    <p:cond delay="indefinite"/>
                  </p:stCondLst>
                </p:cTn>
                <p:tgtEl>
                  <p:spTgt spid="11"/>
                </p:tgtEl>
              </p:cMediaNode>
            </p:vide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EDC75F57-94BC-984A-9AAD-5ACB1EE31B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aten in Pro importieren</a:t>
            </a:r>
            <a:endParaRPr lang="de-DE" dirty="0"/>
          </a:p>
        </p:txBody>
      </p:sp>
      <p:pic>
        <p:nvPicPr>
          <p:cNvPr id="6" name="Grafik 5" descr="Ein Bild, das Karte enthält.&#10;&#10;Automatisch generierte Beschreibung">
            <a:extLst>
              <a:ext uri="{FF2B5EF4-FFF2-40B4-BE49-F238E27FC236}">
                <a16:creationId xmlns:a16="http://schemas.microsoft.com/office/drawing/2014/main" id="{4CA07082-CD62-3CB8-5D86-2D78ADB8D9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776" y="6945460"/>
            <a:ext cx="12192000" cy="6102465"/>
          </a:xfrm>
          <a:prstGeom prst="rect">
            <a:avLst/>
          </a:prstGeom>
        </p:spPr>
      </p:pic>
      <p:pic>
        <p:nvPicPr>
          <p:cNvPr id="16" name="Grafik 15" descr="Ein Bild, das Text enthält.&#10;&#10;Automatisch generierte Beschreibung">
            <a:extLst>
              <a:ext uri="{FF2B5EF4-FFF2-40B4-BE49-F238E27FC236}">
                <a16:creationId xmlns:a16="http://schemas.microsoft.com/office/drawing/2014/main" id="{74FAEAF6-5E55-C299-D15E-F632D9BBDA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7428" y="7648915"/>
            <a:ext cx="2972215" cy="1314633"/>
          </a:xfrm>
          <a:prstGeom prst="rect">
            <a:avLst/>
          </a:prstGeom>
        </p:spPr>
      </p:pic>
      <p:pic>
        <p:nvPicPr>
          <p:cNvPr id="18" name="Grafik 17" descr="Ein Bild, das Text enthält.&#10;&#10;Automatisch generierte Beschreibung">
            <a:extLst>
              <a:ext uri="{FF2B5EF4-FFF2-40B4-BE49-F238E27FC236}">
                <a16:creationId xmlns:a16="http://schemas.microsoft.com/office/drawing/2014/main" id="{1BED99DB-82D6-24C0-E331-DCB5CDA720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60863" y="2628127"/>
            <a:ext cx="3244888" cy="2567384"/>
          </a:xfrm>
          <a:prstGeom prst="rect">
            <a:avLst/>
          </a:prstGeom>
        </p:spPr>
      </p:pic>
      <p:pic>
        <p:nvPicPr>
          <p:cNvPr id="22" name="Grafik 21" descr="Ein Bild, das Karte enthält.&#10;&#10;Automatisch generierte Beschreibung">
            <a:extLst>
              <a:ext uri="{FF2B5EF4-FFF2-40B4-BE49-F238E27FC236}">
                <a16:creationId xmlns:a16="http://schemas.microsoft.com/office/drawing/2014/main" id="{266D783B-F355-071A-1C54-D828370FF21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04878" y="6945460"/>
            <a:ext cx="8240720" cy="4409899"/>
          </a:xfrm>
          <a:prstGeom prst="rect">
            <a:avLst/>
          </a:prstGeom>
        </p:spPr>
      </p:pic>
      <p:sp>
        <p:nvSpPr>
          <p:cNvPr id="11" name="Textfeld 10"/>
          <p:cNvSpPr txBox="1"/>
          <p:nvPr/>
        </p:nvSpPr>
        <p:spPr>
          <a:xfrm>
            <a:off x="600890" y="1546814"/>
            <a:ext cx="6703988" cy="436020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l">
              <a:spcAft>
                <a:spcPts val="1200"/>
              </a:spcAft>
              <a:buClr>
                <a:schemeClr val="tx2"/>
              </a:buClr>
            </a:pPr>
            <a:r>
              <a:rPr lang="de-DE" sz="1400" b="1" kern="600" dirty="0" smtClean="0"/>
              <a:t>Import</a:t>
            </a:r>
            <a:r>
              <a:rPr lang="de-DE" sz="1400" kern="600" dirty="0" smtClean="0"/>
              <a:t>:</a:t>
            </a:r>
          </a:p>
          <a:p>
            <a:pPr marL="285750" indent="-285750" algn="l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400" kern="600" dirty="0" smtClean="0"/>
              <a:t>Vorab einmalig unter Betrieb – Einstellungen – Umgebung – Einstellungen NMM als Standardmodul festlegen</a:t>
            </a:r>
          </a:p>
          <a:p>
            <a:pPr marL="285750" indent="-285750" algn="l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400" kern="600" dirty="0" smtClean="0"/>
              <a:t>Klick auf Datenimport </a:t>
            </a:r>
          </a:p>
          <a:p>
            <a:pPr marL="285750" indent="-285750" algn="l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400" kern="600" dirty="0" smtClean="0"/>
              <a:t>Quelle/Endpunkt auswählen</a:t>
            </a:r>
          </a:p>
          <a:p>
            <a:pPr marL="285750" indent="-285750" algn="l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400" kern="600" dirty="0" smtClean="0"/>
              <a:t>Auftrag auswählen und importieren</a:t>
            </a:r>
          </a:p>
          <a:p>
            <a:pPr algn="l">
              <a:spcAft>
                <a:spcPts val="1200"/>
              </a:spcAft>
              <a:buClr>
                <a:schemeClr val="tx2"/>
              </a:buClr>
            </a:pPr>
            <a:endParaRPr lang="de-DE" sz="1400" kern="600" dirty="0"/>
          </a:p>
          <a:p>
            <a:pPr defTabSz="914400">
              <a:spcAft>
                <a:spcPts val="1200"/>
              </a:spcAft>
              <a:buClr>
                <a:schemeClr val="tx2"/>
              </a:buClr>
            </a:pPr>
            <a:r>
              <a:rPr lang="de-DE" sz="1400" b="1" kern="600" dirty="0" smtClean="0"/>
              <a:t>Hinweise:</a:t>
            </a:r>
            <a:endParaRPr lang="de-DE" sz="1400" b="1" kern="600" dirty="0"/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400" kern="600" dirty="0" smtClean="0"/>
              <a:t>Abgerufene Aufträge werden behandelt wie Aufträge der App. Löschen erfolgt bei Bedarf über den Tab „Löschen“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400" kern="600" dirty="0" smtClean="0"/>
              <a:t>Eine Bearbeitung in Live und anschließender Import der bearbeiteten Daten in Pro ist nicht möglich. Es werden immer Original-Daten importiert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400" kern="600" dirty="0" smtClean="0"/>
              <a:t>Hinweis auf falsche Zugangsdaten</a:t>
            </a: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85291" y="4229080"/>
            <a:ext cx="3801191" cy="2372276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82255" y="1222282"/>
            <a:ext cx="4323495" cy="1149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1604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EDC75F57-94BC-984A-9AAD-5ACB1EE31B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aten in Pro exportieren</a:t>
            </a:r>
            <a:endParaRPr lang="de-DE" dirty="0"/>
          </a:p>
        </p:txBody>
      </p:sp>
      <p:pic>
        <p:nvPicPr>
          <p:cNvPr id="6" name="Grafik 5" descr="Ein Bild, das Karte enthält.&#10;&#10;Automatisch generierte Beschreibung">
            <a:extLst>
              <a:ext uri="{FF2B5EF4-FFF2-40B4-BE49-F238E27FC236}">
                <a16:creationId xmlns:a16="http://schemas.microsoft.com/office/drawing/2014/main" id="{4CA07082-CD62-3CB8-5D86-2D78ADB8D9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776" y="6945460"/>
            <a:ext cx="12192000" cy="6102465"/>
          </a:xfrm>
          <a:prstGeom prst="rect">
            <a:avLst/>
          </a:prstGeom>
        </p:spPr>
      </p:pic>
      <p:pic>
        <p:nvPicPr>
          <p:cNvPr id="16" name="Grafik 15" descr="Ein Bild, das Text enthält.&#10;&#10;Automatisch generierte Beschreibung">
            <a:extLst>
              <a:ext uri="{FF2B5EF4-FFF2-40B4-BE49-F238E27FC236}">
                <a16:creationId xmlns:a16="http://schemas.microsoft.com/office/drawing/2014/main" id="{74FAEAF6-5E55-C299-D15E-F632D9BBDA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7428" y="7648915"/>
            <a:ext cx="2972215" cy="1314633"/>
          </a:xfrm>
          <a:prstGeom prst="rect">
            <a:avLst/>
          </a:prstGeom>
        </p:spPr>
      </p:pic>
      <p:pic>
        <p:nvPicPr>
          <p:cNvPr id="22" name="Grafik 21" descr="Ein Bild, das Karte enthält.&#10;&#10;Automatisch generierte Beschreibung">
            <a:extLst>
              <a:ext uri="{FF2B5EF4-FFF2-40B4-BE49-F238E27FC236}">
                <a16:creationId xmlns:a16="http://schemas.microsoft.com/office/drawing/2014/main" id="{266D783B-F355-071A-1C54-D828370FF21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04878" y="6945460"/>
            <a:ext cx="8240720" cy="4409899"/>
          </a:xfrm>
          <a:prstGeom prst="rect">
            <a:avLst/>
          </a:prstGeom>
        </p:spPr>
      </p:pic>
      <p:sp>
        <p:nvSpPr>
          <p:cNvPr id="11" name="Textfeld 10"/>
          <p:cNvSpPr txBox="1"/>
          <p:nvPr/>
        </p:nvSpPr>
        <p:spPr>
          <a:xfrm>
            <a:off x="652043" y="1564313"/>
            <a:ext cx="6098084" cy="384284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l">
              <a:spcAft>
                <a:spcPts val="1200"/>
              </a:spcAft>
              <a:buClr>
                <a:schemeClr val="tx2"/>
              </a:buClr>
            </a:pPr>
            <a:r>
              <a:rPr lang="de-DE" sz="1400" b="1" kern="600" dirty="0" smtClean="0"/>
              <a:t>Export</a:t>
            </a:r>
            <a:r>
              <a:rPr lang="de-DE" sz="1400" kern="600" dirty="0" smtClean="0"/>
              <a:t>:</a:t>
            </a:r>
          </a:p>
          <a:p>
            <a:pPr marL="285750" indent="-285750" algn="l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400" kern="600" dirty="0" smtClean="0"/>
              <a:t>Planauftrag erstellen</a:t>
            </a:r>
          </a:p>
          <a:p>
            <a:pPr marL="285750" indent="-285750" algn="l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400" kern="600" dirty="0" smtClean="0"/>
              <a:t>Auftrag an Gerätetyp NMM schreiben</a:t>
            </a:r>
          </a:p>
          <a:p>
            <a:pPr marL="285750" indent="-285750" algn="l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sz="1400" kern="600" dirty="0"/>
          </a:p>
          <a:p>
            <a:pPr marL="285750" indent="-285750" algn="l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sz="1400" kern="600" dirty="0" smtClean="0"/>
          </a:p>
          <a:p>
            <a:pPr defTabSz="914400">
              <a:spcAft>
                <a:spcPts val="1200"/>
              </a:spcAft>
              <a:buClr>
                <a:schemeClr val="tx2"/>
              </a:buClr>
            </a:pPr>
            <a:r>
              <a:rPr lang="de-DE" sz="1400" b="1" kern="600" dirty="0" smtClean="0"/>
              <a:t>Hinweise:</a:t>
            </a:r>
            <a:endParaRPr lang="de-DE" sz="1400" b="1" kern="600" dirty="0"/>
          </a:p>
          <a:p>
            <a:pPr>
              <a:spcAft>
                <a:spcPts val="1200"/>
              </a:spcAft>
              <a:buClr>
                <a:schemeClr val="tx2"/>
              </a:buClr>
            </a:pPr>
            <a:r>
              <a:rPr lang="de-DE" sz="1400" kern="600" dirty="0" smtClean="0"/>
              <a:t>Aufträge können im Live unter </a:t>
            </a:r>
            <a:r>
              <a:rPr lang="de-DE" sz="1400" kern="600" dirty="0" err="1" smtClean="0"/>
              <a:t>Machine</a:t>
            </a:r>
            <a:r>
              <a:rPr lang="de-DE" sz="1400" kern="600" dirty="0" smtClean="0"/>
              <a:t> Management eingesehen werden:</a:t>
            </a:r>
          </a:p>
          <a:p>
            <a:pPr marL="742950" lvl="1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400" kern="600" dirty="0" smtClean="0"/>
              <a:t> Erledigte Maßnahmen unter „Daten verarbeiten“</a:t>
            </a:r>
          </a:p>
          <a:p>
            <a:pPr marL="742950" lvl="1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400" kern="600" dirty="0" smtClean="0"/>
              <a:t>Geplante Maßnahmen werden nicht </a:t>
            </a:r>
            <a:r>
              <a:rPr lang="de-DE" sz="1400" kern="600" smtClean="0"/>
              <a:t>angezeigt</a:t>
            </a:r>
            <a:r>
              <a:rPr lang="de-DE" sz="1400" kern="600" smtClean="0"/>
              <a:t>.</a:t>
            </a:r>
            <a:endParaRPr lang="de-DE" sz="1400" kern="600" dirty="0" smtClean="0"/>
          </a:p>
        </p:txBody>
      </p:sp>
      <p:pic>
        <p:nvPicPr>
          <p:cNvPr id="9" name="Grafik 8" descr="Ein Bild, das Text enthält.&#10;&#10;Automatisch generierte Beschreibung">
            <a:extLst>
              <a:ext uri="{FF2B5EF4-FFF2-40B4-BE49-F238E27FC236}">
                <a16:creationId xmlns:a16="http://schemas.microsoft.com/office/drawing/2014/main" id="{08813AC8-89D0-599E-0F24-E7A6C739C05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81330" y="1134197"/>
            <a:ext cx="4827198" cy="3942332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50127" y="4305937"/>
            <a:ext cx="4219813" cy="2150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31814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566406E-0724-4107-AA7B-FEA4164C17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566406E-0724-4107-AA7B-FEA4164C17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ihandform: Form 102">
            <a:extLst>
              <a:ext uri="{FF2B5EF4-FFF2-40B4-BE49-F238E27FC236}">
                <a16:creationId xmlns:a16="http://schemas.microsoft.com/office/drawing/2014/main" id="{FE0B49D1-8714-499B-8A53-DDB6A636B32B}"/>
              </a:ext>
            </a:extLst>
          </p:cNvPr>
          <p:cNvSpPr/>
          <p:nvPr/>
        </p:nvSpPr>
        <p:spPr>
          <a:xfrm>
            <a:off x="5139388" y="6177644"/>
            <a:ext cx="7052612" cy="680356"/>
          </a:xfrm>
          <a:custGeom>
            <a:avLst/>
            <a:gdLst>
              <a:gd name="connsiteX0" fmla="*/ 7052612 w 7052612"/>
              <a:gd name="connsiteY0" fmla="*/ 0 h 680356"/>
              <a:gd name="connsiteX1" fmla="*/ 7052612 w 7052612"/>
              <a:gd name="connsiteY1" fmla="*/ 256482 h 680356"/>
              <a:gd name="connsiteX2" fmla="*/ 2658708 w 7052612"/>
              <a:gd name="connsiteY2" fmla="*/ 680356 h 680356"/>
              <a:gd name="connsiteX3" fmla="*/ 0 w 7052612"/>
              <a:gd name="connsiteY3" fmla="*/ 680356 h 6803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52612" h="680356">
                <a:moveTo>
                  <a:pt x="7052612" y="0"/>
                </a:moveTo>
                <a:lnTo>
                  <a:pt x="7052612" y="256482"/>
                </a:lnTo>
                <a:lnTo>
                  <a:pt x="2658708" y="680356"/>
                </a:lnTo>
                <a:lnTo>
                  <a:pt x="0" y="680356"/>
                </a:lnTo>
                <a:close/>
              </a:path>
            </a:pathLst>
          </a:cu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85EBDD-E926-CC43-BC40-16889CC6D1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333692"/>
            <a:ext cx="10658475" cy="680356"/>
          </a:xfrm>
        </p:spPr>
        <p:txBody>
          <a:bodyPr/>
          <a:lstStyle/>
          <a:p>
            <a:r>
              <a:rPr lang="de-DE" dirty="0"/>
              <a:t>NMM - Schnellrepo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99E34C-AB0D-FD41-9F26-29EBA4E8197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66763" y="6571889"/>
            <a:ext cx="187552" cy="123111"/>
          </a:xfrm>
        </p:spPr>
        <p:txBody>
          <a:bodyPr/>
          <a:lstStyle/>
          <a:p>
            <a:fld id="{E6101334-2212-47E5-96F0-086CB39DE767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45FEA8-DE1C-CD46-AF58-35C12A0FA4F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bteilung | Verfasser</a:t>
            </a:r>
            <a:endParaRPr lang="de-DE" dirty="0"/>
          </a:p>
        </p:txBody>
      </p:sp>
      <p:grpSp>
        <p:nvGrpSpPr>
          <p:cNvPr id="6" name="MacBook">
            <a:extLst>
              <a:ext uri="{FF2B5EF4-FFF2-40B4-BE49-F238E27FC236}">
                <a16:creationId xmlns:a16="http://schemas.microsoft.com/office/drawing/2014/main" id="{F52B3A0C-6F21-D045-A02F-1FF3AD8430FE}"/>
              </a:ext>
            </a:extLst>
          </p:cNvPr>
          <p:cNvGrpSpPr/>
          <p:nvPr/>
        </p:nvGrpSpPr>
        <p:grpSpPr bwMode="gray">
          <a:xfrm>
            <a:off x="766763" y="1473200"/>
            <a:ext cx="10658475" cy="4979988"/>
            <a:chOff x="2070510" y="1519237"/>
            <a:chExt cx="8048580" cy="4320000"/>
          </a:xfrm>
        </p:grpSpPr>
        <p:sp>
          <p:nvSpPr>
            <p:cNvPr id="8" name="Freeform">
              <a:extLst>
                <a:ext uri="{FF2B5EF4-FFF2-40B4-BE49-F238E27FC236}">
                  <a16:creationId xmlns:a16="http://schemas.microsoft.com/office/drawing/2014/main" id="{D308F657-5E66-0944-B84D-CE25B3CD579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77296" y="1519237"/>
              <a:ext cx="6435009" cy="4191429"/>
            </a:xfrm>
            <a:custGeom>
              <a:avLst/>
              <a:gdLst>
                <a:gd name="T0" fmla="*/ 424 w 424"/>
                <a:gd name="T1" fmla="*/ 270 h 276"/>
                <a:gd name="T2" fmla="*/ 418 w 424"/>
                <a:gd name="T3" fmla="*/ 276 h 276"/>
                <a:gd name="T4" fmla="*/ 5 w 424"/>
                <a:gd name="T5" fmla="*/ 276 h 276"/>
                <a:gd name="T6" fmla="*/ 0 w 424"/>
                <a:gd name="T7" fmla="*/ 270 h 276"/>
                <a:gd name="T8" fmla="*/ 0 w 424"/>
                <a:gd name="T9" fmla="*/ 6 h 276"/>
                <a:gd name="T10" fmla="*/ 5 w 424"/>
                <a:gd name="T11" fmla="*/ 0 h 276"/>
                <a:gd name="T12" fmla="*/ 418 w 424"/>
                <a:gd name="T13" fmla="*/ 0 h 276"/>
                <a:gd name="T14" fmla="*/ 424 w 424"/>
                <a:gd name="T15" fmla="*/ 6 h 276"/>
                <a:gd name="T16" fmla="*/ 424 w 424"/>
                <a:gd name="T17" fmla="*/ 27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4" h="276">
                  <a:moveTo>
                    <a:pt x="424" y="270"/>
                  </a:moveTo>
                  <a:cubicBezTo>
                    <a:pt x="424" y="273"/>
                    <a:pt x="421" y="276"/>
                    <a:pt x="418" y="276"/>
                  </a:cubicBezTo>
                  <a:cubicBezTo>
                    <a:pt x="5" y="276"/>
                    <a:pt x="5" y="276"/>
                    <a:pt x="5" y="276"/>
                  </a:cubicBezTo>
                  <a:cubicBezTo>
                    <a:pt x="2" y="276"/>
                    <a:pt x="0" y="273"/>
                    <a:pt x="0" y="27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418" y="0"/>
                    <a:pt x="418" y="0"/>
                    <a:pt x="418" y="0"/>
                  </a:cubicBezTo>
                  <a:cubicBezTo>
                    <a:pt x="421" y="0"/>
                    <a:pt x="424" y="3"/>
                    <a:pt x="424" y="6"/>
                  </a:cubicBezTo>
                  <a:lnTo>
                    <a:pt x="424" y="270"/>
                  </a:ln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Freeform">
              <a:extLst>
                <a:ext uri="{FF2B5EF4-FFF2-40B4-BE49-F238E27FC236}">
                  <a16:creationId xmlns:a16="http://schemas.microsoft.com/office/drawing/2014/main" id="{2D296C0F-F10F-1243-A94D-3A908FA8612E}"/>
                </a:ext>
              </a:extLst>
            </p:cNvPr>
            <p:cNvSpPr>
              <a:spLocks/>
            </p:cNvSpPr>
            <p:nvPr/>
          </p:nvSpPr>
          <p:spPr bwMode="gray">
            <a:xfrm>
              <a:off x="2070510" y="5633523"/>
              <a:ext cx="8048580" cy="205714"/>
            </a:xfrm>
            <a:custGeom>
              <a:avLst/>
              <a:gdLst>
                <a:gd name="T0" fmla="*/ 0 w 530"/>
                <a:gd name="T1" fmla="*/ 0 h 27"/>
                <a:gd name="T2" fmla="*/ 0 w 530"/>
                <a:gd name="T3" fmla="*/ 11 h 27"/>
                <a:gd name="T4" fmla="*/ 106 w 530"/>
                <a:gd name="T5" fmla="*/ 27 h 27"/>
                <a:gd name="T6" fmla="*/ 424 w 530"/>
                <a:gd name="T7" fmla="*/ 27 h 27"/>
                <a:gd name="T8" fmla="*/ 530 w 530"/>
                <a:gd name="T9" fmla="*/ 11 h 27"/>
                <a:gd name="T10" fmla="*/ 530 w 530"/>
                <a:gd name="T11" fmla="*/ 0 h 27"/>
                <a:gd name="T12" fmla="*/ 0 w 530"/>
                <a:gd name="T1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0" h="27">
                  <a:moveTo>
                    <a:pt x="0" y="0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20"/>
                    <a:pt x="47" y="27"/>
                    <a:pt x="106" y="27"/>
                  </a:cubicBezTo>
                  <a:cubicBezTo>
                    <a:pt x="424" y="27"/>
                    <a:pt x="424" y="27"/>
                    <a:pt x="424" y="27"/>
                  </a:cubicBezTo>
                  <a:cubicBezTo>
                    <a:pt x="482" y="27"/>
                    <a:pt x="530" y="20"/>
                    <a:pt x="530" y="11"/>
                  </a:cubicBezTo>
                  <a:cubicBezTo>
                    <a:pt x="530" y="0"/>
                    <a:pt x="530" y="0"/>
                    <a:pt x="53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Freeform">
              <a:extLst>
                <a:ext uri="{FF2B5EF4-FFF2-40B4-BE49-F238E27FC236}">
                  <a16:creationId xmlns:a16="http://schemas.microsoft.com/office/drawing/2014/main" id="{98E824F9-5164-CF45-B83E-6F2EA97BA333}"/>
                </a:ext>
              </a:extLst>
            </p:cNvPr>
            <p:cNvSpPr/>
            <p:nvPr/>
          </p:nvSpPr>
          <p:spPr bwMode="gray">
            <a:xfrm>
              <a:off x="2070510" y="5624348"/>
              <a:ext cx="8048580" cy="7758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7" name="Grafik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93212" y="1671561"/>
            <a:ext cx="3985257" cy="4533908"/>
          </a:xfrm>
          <a:prstGeom prst="rect">
            <a:avLst/>
          </a:prstGeom>
        </p:spPr>
      </p:pic>
      <p:sp>
        <p:nvSpPr>
          <p:cNvPr id="13" name="Freeform 18">
            <a:extLst>
              <a:ext uri="{FF2B5EF4-FFF2-40B4-BE49-F238E27FC236}">
                <a16:creationId xmlns:a16="http://schemas.microsoft.com/office/drawing/2014/main" id="{FCE1452C-2BDC-6E49-AA14-ACCB4FCAF91B}"/>
              </a:ext>
            </a:extLst>
          </p:cNvPr>
          <p:cNvSpPr/>
          <p:nvPr/>
        </p:nvSpPr>
        <p:spPr>
          <a:xfrm>
            <a:off x="7997969" y="1200215"/>
            <a:ext cx="3427269" cy="100644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rgbClr val="FFC000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4" name="Rectangle 171">
            <a:extLst>
              <a:ext uri="{FF2B5EF4-FFF2-40B4-BE49-F238E27FC236}">
                <a16:creationId xmlns:a16="http://schemas.microsoft.com/office/drawing/2014/main" id="{E19E0240-8EAC-A44F-A087-6B49B1CD6C79}"/>
              </a:ext>
            </a:extLst>
          </p:cNvPr>
          <p:cNvSpPr/>
          <p:nvPr/>
        </p:nvSpPr>
        <p:spPr>
          <a:xfrm>
            <a:off x="7997969" y="1446092"/>
            <a:ext cx="3427269" cy="4524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Pct val="100000"/>
              <a:defRPr/>
            </a:pPr>
            <a:r>
              <a:rPr lang="de-DE" sz="1300" dirty="0">
                <a:solidFill>
                  <a:schemeClr val="bg1"/>
                </a:solidFill>
                <a:latin typeface="Arial" panose="020B0604020202020204" pitchFamily="34" charset="0"/>
              </a:rPr>
              <a:t>Erstellung eines Schnellreports anhand von der Maschinendaten</a:t>
            </a:r>
          </a:p>
        </p:txBody>
      </p:sp>
    </p:spTree>
    <p:extLst>
      <p:ext uri="{BB962C8B-B14F-4D97-AF65-F5344CB8AC3E}">
        <p14:creationId xmlns:p14="http://schemas.microsoft.com/office/powerpoint/2010/main" val="31292495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566406E-0724-4107-AA7B-FEA4164C17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9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566406E-0724-4107-AA7B-FEA4164C17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ihandform: Form 102">
            <a:extLst>
              <a:ext uri="{FF2B5EF4-FFF2-40B4-BE49-F238E27FC236}">
                <a16:creationId xmlns:a16="http://schemas.microsoft.com/office/drawing/2014/main" id="{FE0B49D1-8714-499B-8A53-DDB6A636B32B}"/>
              </a:ext>
            </a:extLst>
          </p:cNvPr>
          <p:cNvSpPr/>
          <p:nvPr/>
        </p:nvSpPr>
        <p:spPr>
          <a:xfrm>
            <a:off x="5139388" y="6177644"/>
            <a:ext cx="7052612" cy="680356"/>
          </a:xfrm>
          <a:custGeom>
            <a:avLst/>
            <a:gdLst>
              <a:gd name="connsiteX0" fmla="*/ 7052612 w 7052612"/>
              <a:gd name="connsiteY0" fmla="*/ 0 h 680356"/>
              <a:gd name="connsiteX1" fmla="*/ 7052612 w 7052612"/>
              <a:gd name="connsiteY1" fmla="*/ 256482 h 680356"/>
              <a:gd name="connsiteX2" fmla="*/ 2658708 w 7052612"/>
              <a:gd name="connsiteY2" fmla="*/ 680356 h 680356"/>
              <a:gd name="connsiteX3" fmla="*/ 0 w 7052612"/>
              <a:gd name="connsiteY3" fmla="*/ 680356 h 6803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52612" h="680356">
                <a:moveTo>
                  <a:pt x="7052612" y="0"/>
                </a:moveTo>
                <a:lnTo>
                  <a:pt x="7052612" y="256482"/>
                </a:lnTo>
                <a:lnTo>
                  <a:pt x="2658708" y="680356"/>
                </a:lnTo>
                <a:lnTo>
                  <a:pt x="0" y="680356"/>
                </a:lnTo>
                <a:close/>
              </a:path>
            </a:pathLst>
          </a:cu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85EBDD-E926-CC43-BC40-16889CC6D1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333692"/>
            <a:ext cx="10658475" cy="680356"/>
          </a:xfrm>
        </p:spPr>
        <p:txBody>
          <a:bodyPr/>
          <a:lstStyle/>
          <a:p>
            <a:r>
              <a:rPr lang="de-DE" dirty="0"/>
              <a:t>NMM – Live Ansich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99E34C-AB0D-FD41-9F26-29EBA4E8197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66763" y="6571889"/>
            <a:ext cx="187552" cy="123111"/>
          </a:xfrm>
        </p:spPr>
        <p:txBody>
          <a:bodyPr/>
          <a:lstStyle/>
          <a:p>
            <a:fld id="{E6101334-2212-47E5-96F0-086CB39DE767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45FEA8-DE1C-CD46-AF58-35C12A0FA4F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bteilung | Verfasser</a:t>
            </a:r>
            <a:endParaRPr lang="de-DE" dirty="0"/>
          </a:p>
        </p:txBody>
      </p:sp>
      <p:grpSp>
        <p:nvGrpSpPr>
          <p:cNvPr id="6" name="MacBook">
            <a:extLst>
              <a:ext uri="{FF2B5EF4-FFF2-40B4-BE49-F238E27FC236}">
                <a16:creationId xmlns:a16="http://schemas.microsoft.com/office/drawing/2014/main" id="{F52B3A0C-6F21-D045-A02F-1FF3AD8430FE}"/>
              </a:ext>
            </a:extLst>
          </p:cNvPr>
          <p:cNvGrpSpPr/>
          <p:nvPr/>
        </p:nvGrpSpPr>
        <p:grpSpPr bwMode="gray">
          <a:xfrm>
            <a:off x="766763" y="1473200"/>
            <a:ext cx="10658475" cy="4979988"/>
            <a:chOff x="2070510" y="1519237"/>
            <a:chExt cx="8048580" cy="4320000"/>
          </a:xfrm>
        </p:grpSpPr>
        <p:sp>
          <p:nvSpPr>
            <p:cNvPr id="8" name="Freeform">
              <a:extLst>
                <a:ext uri="{FF2B5EF4-FFF2-40B4-BE49-F238E27FC236}">
                  <a16:creationId xmlns:a16="http://schemas.microsoft.com/office/drawing/2014/main" id="{D308F657-5E66-0944-B84D-CE25B3CD579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77296" y="1519237"/>
              <a:ext cx="6435009" cy="4191429"/>
            </a:xfrm>
            <a:custGeom>
              <a:avLst/>
              <a:gdLst>
                <a:gd name="T0" fmla="*/ 424 w 424"/>
                <a:gd name="T1" fmla="*/ 270 h 276"/>
                <a:gd name="T2" fmla="*/ 418 w 424"/>
                <a:gd name="T3" fmla="*/ 276 h 276"/>
                <a:gd name="T4" fmla="*/ 5 w 424"/>
                <a:gd name="T5" fmla="*/ 276 h 276"/>
                <a:gd name="T6" fmla="*/ 0 w 424"/>
                <a:gd name="T7" fmla="*/ 270 h 276"/>
                <a:gd name="T8" fmla="*/ 0 w 424"/>
                <a:gd name="T9" fmla="*/ 6 h 276"/>
                <a:gd name="T10" fmla="*/ 5 w 424"/>
                <a:gd name="T11" fmla="*/ 0 h 276"/>
                <a:gd name="T12" fmla="*/ 418 w 424"/>
                <a:gd name="T13" fmla="*/ 0 h 276"/>
                <a:gd name="T14" fmla="*/ 424 w 424"/>
                <a:gd name="T15" fmla="*/ 6 h 276"/>
                <a:gd name="T16" fmla="*/ 424 w 424"/>
                <a:gd name="T17" fmla="*/ 27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4" h="276">
                  <a:moveTo>
                    <a:pt x="424" y="270"/>
                  </a:moveTo>
                  <a:cubicBezTo>
                    <a:pt x="424" y="273"/>
                    <a:pt x="421" y="276"/>
                    <a:pt x="418" y="276"/>
                  </a:cubicBezTo>
                  <a:cubicBezTo>
                    <a:pt x="5" y="276"/>
                    <a:pt x="5" y="276"/>
                    <a:pt x="5" y="276"/>
                  </a:cubicBezTo>
                  <a:cubicBezTo>
                    <a:pt x="2" y="276"/>
                    <a:pt x="0" y="273"/>
                    <a:pt x="0" y="27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418" y="0"/>
                    <a:pt x="418" y="0"/>
                    <a:pt x="418" y="0"/>
                  </a:cubicBezTo>
                  <a:cubicBezTo>
                    <a:pt x="421" y="0"/>
                    <a:pt x="424" y="3"/>
                    <a:pt x="424" y="6"/>
                  </a:cubicBezTo>
                  <a:lnTo>
                    <a:pt x="424" y="270"/>
                  </a:ln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Freeform">
              <a:extLst>
                <a:ext uri="{FF2B5EF4-FFF2-40B4-BE49-F238E27FC236}">
                  <a16:creationId xmlns:a16="http://schemas.microsoft.com/office/drawing/2014/main" id="{2D296C0F-F10F-1243-A94D-3A908FA8612E}"/>
                </a:ext>
              </a:extLst>
            </p:cNvPr>
            <p:cNvSpPr>
              <a:spLocks/>
            </p:cNvSpPr>
            <p:nvPr/>
          </p:nvSpPr>
          <p:spPr bwMode="gray">
            <a:xfrm>
              <a:off x="2070510" y="5633523"/>
              <a:ext cx="8048580" cy="205714"/>
            </a:xfrm>
            <a:custGeom>
              <a:avLst/>
              <a:gdLst>
                <a:gd name="T0" fmla="*/ 0 w 530"/>
                <a:gd name="T1" fmla="*/ 0 h 27"/>
                <a:gd name="T2" fmla="*/ 0 w 530"/>
                <a:gd name="T3" fmla="*/ 11 h 27"/>
                <a:gd name="T4" fmla="*/ 106 w 530"/>
                <a:gd name="T5" fmla="*/ 27 h 27"/>
                <a:gd name="T6" fmla="*/ 424 w 530"/>
                <a:gd name="T7" fmla="*/ 27 h 27"/>
                <a:gd name="T8" fmla="*/ 530 w 530"/>
                <a:gd name="T9" fmla="*/ 11 h 27"/>
                <a:gd name="T10" fmla="*/ 530 w 530"/>
                <a:gd name="T11" fmla="*/ 0 h 27"/>
                <a:gd name="T12" fmla="*/ 0 w 530"/>
                <a:gd name="T1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0" h="27">
                  <a:moveTo>
                    <a:pt x="0" y="0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20"/>
                    <a:pt x="47" y="27"/>
                    <a:pt x="106" y="27"/>
                  </a:cubicBezTo>
                  <a:cubicBezTo>
                    <a:pt x="424" y="27"/>
                    <a:pt x="424" y="27"/>
                    <a:pt x="424" y="27"/>
                  </a:cubicBezTo>
                  <a:cubicBezTo>
                    <a:pt x="482" y="27"/>
                    <a:pt x="530" y="20"/>
                    <a:pt x="530" y="11"/>
                  </a:cubicBezTo>
                  <a:cubicBezTo>
                    <a:pt x="530" y="0"/>
                    <a:pt x="530" y="0"/>
                    <a:pt x="53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Freeform">
              <a:extLst>
                <a:ext uri="{FF2B5EF4-FFF2-40B4-BE49-F238E27FC236}">
                  <a16:creationId xmlns:a16="http://schemas.microsoft.com/office/drawing/2014/main" id="{98E824F9-5164-CF45-B83E-6F2EA97BA333}"/>
                </a:ext>
              </a:extLst>
            </p:cNvPr>
            <p:cNvSpPr/>
            <p:nvPr/>
          </p:nvSpPr>
          <p:spPr bwMode="gray">
            <a:xfrm>
              <a:off x="2070510" y="5624348"/>
              <a:ext cx="8048580" cy="7758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9" name="Grafik 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1680" y="1910240"/>
            <a:ext cx="8196145" cy="3850480"/>
          </a:xfrm>
          <a:prstGeom prst="rect">
            <a:avLst/>
          </a:prstGeom>
        </p:spPr>
      </p:pic>
      <p:sp>
        <p:nvSpPr>
          <p:cNvPr id="13" name="Freeform 18">
            <a:extLst>
              <a:ext uri="{FF2B5EF4-FFF2-40B4-BE49-F238E27FC236}">
                <a16:creationId xmlns:a16="http://schemas.microsoft.com/office/drawing/2014/main" id="{FCE1452C-2BDC-6E49-AA14-ACCB4FCAF91B}"/>
              </a:ext>
            </a:extLst>
          </p:cNvPr>
          <p:cNvSpPr/>
          <p:nvPr/>
        </p:nvSpPr>
        <p:spPr>
          <a:xfrm>
            <a:off x="7997969" y="1200215"/>
            <a:ext cx="3427269" cy="1006441"/>
          </a:xfrm>
          <a:custGeom>
            <a:avLst/>
            <a:gdLst>
              <a:gd name="connsiteX0" fmla="*/ 661990 w 661990"/>
              <a:gd name="connsiteY0" fmla="*/ 0 h 742371"/>
              <a:gd name="connsiteX1" fmla="*/ 661990 w 661990"/>
              <a:gd name="connsiteY1" fmla="*/ 10912 h 742371"/>
              <a:gd name="connsiteX2" fmla="*/ 661990 w 661990"/>
              <a:gd name="connsiteY2" fmla="*/ 34453 h 742371"/>
              <a:gd name="connsiteX3" fmla="*/ 661990 w 661990"/>
              <a:gd name="connsiteY3" fmla="*/ 54645 h 742371"/>
              <a:gd name="connsiteX4" fmla="*/ 661990 w 661990"/>
              <a:gd name="connsiteY4" fmla="*/ 79618 h 742371"/>
              <a:gd name="connsiteX5" fmla="*/ 661990 w 661990"/>
              <a:gd name="connsiteY5" fmla="*/ 87698 h 742371"/>
              <a:gd name="connsiteX6" fmla="*/ 661990 w 661990"/>
              <a:gd name="connsiteY6" fmla="*/ 95625 h 742371"/>
              <a:gd name="connsiteX7" fmla="*/ 661990 w 661990"/>
              <a:gd name="connsiteY7" fmla="*/ 99810 h 742371"/>
              <a:gd name="connsiteX8" fmla="*/ 661990 w 661990"/>
              <a:gd name="connsiteY8" fmla="*/ 112958 h 742371"/>
              <a:gd name="connsiteX9" fmla="*/ 661990 w 661990"/>
              <a:gd name="connsiteY9" fmla="*/ 123351 h 742371"/>
              <a:gd name="connsiteX10" fmla="*/ 661990 w 661990"/>
              <a:gd name="connsiteY10" fmla="*/ 131431 h 742371"/>
              <a:gd name="connsiteX11" fmla="*/ 661990 w 661990"/>
              <a:gd name="connsiteY11" fmla="*/ 133149 h 742371"/>
              <a:gd name="connsiteX12" fmla="*/ 661990 w 661990"/>
              <a:gd name="connsiteY12" fmla="*/ 139358 h 742371"/>
              <a:gd name="connsiteX13" fmla="*/ 661990 w 661990"/>
              <a:gd name="connsiteY13" fmla="*/ 143543 h 742371"/>
              <a:gd name="connsiteX14" fmla="*/ 661990 w 661990"/>
              <a:gd name="connsiteY14" fmla="*/ 156691 h 742371"/>
              <a:gd name="connsiteX15" fmla="*/ 661990 w 661990"/>
              <a:gd name="connsiteY15" fmla="*/ 176596 h 742371"/>
              <a:gd name="connsiteX16" fmla="*/ 661990 w 661990"/>
              <a:gd name="connsiteY16" fmla="*/ 176882 h 742371"/>
              <a:gd name="connsiteX17" fmla="*/ 661990 w 661990"/>
              <a:gd name="connsiteY17" fmla="*/ 184524 h 742371"/>
              <a:gd name="connsiteX18" fmla="*/ 661990 w 661990"/>
              <a:gd name="connsiteY18" fmla="*/ 201856 h 742371"/>
              <a:gd name="connsiteX19" fmla="*/ 661990 w 661990"/>
              <a:gd name="connsiteY19" fmla="*/ 209936 h 742371"/>
              <a:gd name="connsiteX20" fmla="*/ 661990 w 661990"/>
              <a:gd name="connsiteY20" fmla="*/ 217863 h 742371"/>
              <a:gd name="connsiteX21" fmla="*/ 661990 w 661990"/>
              <a:gd name="connsiteY21" fmla="*/ 220329 h 742371"/>
              <a:gd name="connsiteX22" fmla="*/ 661990 w 661990"/>
              <a:gd name="connsiteY22" fmla="*/ 222048 h 742371"/>
              <a:gd name="connsiteX23" fmla="*/ 661990 w 661990"/>
              <a:gd name="connsiteY23" fmla="*/ 228257 h 742371"/>
              <a:gd name="connsiteX24" fmla="*/ 661990 w 661990"/>
              <a:gd name="connsiteY24" fmla="*/ 245589 h 742371"/>
              <a:gd name="connsiteX25" fmla="*/ 661990 w 661990"/>
              <a:gd name="connsiteY25" fmla="*/ 253669 h 742371"/>
              <a:gd name="connsiteX26" fmla="*/ 661990 w 661990"/>
              <a:gd name="connsiteY26" fmla="*/ 261596 h 742371"/>
              <a:gd name="connsiteX27" fmla="*/ 661990 w 661990"/>
              <a:gd name="connsiteY27" fmla="*/ 265781 h 742371"/>
              <a:gd name="connsiteX28" fmla="*/ 661990 w 661990"/>
              <a:gd name="connsiteY28" fmla="*/ 298834 h 742371"/>
              <a:gd name="connsiteX29" fmla="*/ 661990 w 661990"/>
              <a:gd name="connsiteY29" fmla="*/ 300903 h 742371"/>
              <a:gd name="connsiteX30" fmla="*/ 661990 w 661990"/>
              <a:gd name="connsiteY30" fmla="*/ 306761 h 742371"/>
              <a:gd name="connsiteX31" fmla="*/ 661990 w 661990"/>
              <a:gd name="connsiteY31" fmla="*/ 321095 h 742371"/>
              <a:gd name="connsiteX32" fmla="*/ 661990 w 661990"/>
              <a:gd name="connsiteY32" fmla="*/ 342567 h 742371"/>
              <a:gd name="connsiteX33" fmla="*/ 661990 w 661990"/>
              <a:gd name="connsiteY33" fmla="*/ 344636 h 742371"/>
              <a:gd name="connsiteX34" fmla="*/ 661990 w 661990"/>
              <a:gd name="connsiteY34" fmla="*/ 350494 h 742371"/>
              <a:gd name="connsiteX35" fmla="*/ 661990 w 661990"/>
              <a:gd name="connsiteY35" fmla="*/ 364828 h 742371"/>
              <a:gd name="connsiteX36" fmla="*/ 661990 w 661990"/>
              <a:gd name="connsiteY36" fmla="*/ 382597 h 742371"/>
              <a:gd name="connsiteX37" fmla="*/ 661990 w 661990"/>
              <a:gd name="connsiteY37" fmla="*/ 389802 h 742371"/>
              <a:gd name="connsiteX38" fmla="*/ 661990 w 661990"/>
              <a:gd name="connsiteY38" fmla="*/ 395868 h 742371"/>
              <a:gd name="connsiteX39" fmla="*/ 661990 w 661990"/>
              <a:gd name="connsiteY39" fmla="*/ 405709 h 742371"/>
              <a:gd name="connsiteX40" fmla="*/ 661990 w 661990"/>
              <a:gd name="connsiteY40" fmla="*/ 405809 h 742371"/>
              <a:gd name="connsiteX41" fmla="*/ 661990 w 661990"/>
              <a:gd name="connsiteY41" fmla="*/ 409993 h 742371"/>
              <a:gd name="connsiteX42" fmla="*/ 661990 w 661990"/>
              <a:gd name="connsiteY42" fmla="*/ 416059 h 742371"/>
              <a:gd name="connsiteX43" fmla="*/ 661990 w 661990"/>
              <a:gd name="connsiteY43" fmla="*/ 423141 h 742371"/>
              <a:gd name="connsiteX44" fmla="*/ 661990 w 661990"/>
              <a:gd name="connsiteY44" fmla="*/ 426330 h 742371"/>
              <a:gd name="connsiteX45" fmla="*/ 661990 w 661990"/>
              <a:gd name="connsiteY45" fmla="*/ 433535 h 742371"/>
              <a:gd name="connsiteX46" fmla="*/ 661990 w 661990"/>
              <a:gd name="connsiteY46" fmla="*/ 439601 h 742371"/>
              <a:gd name="connsiteX47" fmla="*/ 661990 w 661990"/>
              <a:gd name="connsiteY47" fmla="*/ 443333 h 742371"/>
              <a:gd name="connsiteX48" fmla="*/ 661990 w 661990"/>
              <a:gd name="connsiteY48" fmla="*/ 449442 h 742371"/>
              <a:gd name="connsiteX49" fmla="*/ 661990 w 661990"/>
              <a:gd name="connsiteY49" fmla="*/ 449542 h 742371"/>
              <a:gd name="connsiteX50" fmla="*/ 661990 w 661990"/>
              <a:gd name="connsiteY50" fmla="*/ 453726 h 742371"/>
              <a:gd name="connsiteX51" fmla="*/ 661990 w 661990"/>
              <a:gd name="connsiteY51" fmla="*/ 459792 h 742371"/>
              <a:gd name="connsiteX52" fmla="*/ 661990 w 661990"/>
              <a:gd name="connsiteY52" fmla="*/ 466874 h 742371"/>
              <a:gd name="connsiteX53" fmla="*/ 661990 w 661990"/>
              <a:gd name="connsiteY53" fmla="*/ 471495 h 742371"/>
              <a:gd name="connsiteX54" fmla="*/ 661990 w 661990"/>
              <a:gd name="connsiteY54" fmla="*/ 484766 h 742371"/>
              <a:gd name="connsiteX55" fmla="*/ 661990 w 661990"/>
              <a:gd name="connsiteY55" fmla="*/ 487066 h 742371"/>
              <a:gd name="connsiteX56" fmla="*/ 661990 w 661990"/>
              <a:gd name="connsiteY56" fmla="*/ 494607 h 742371"/>
              <a:gd name="connsiteX57" fmla="*/ 661990 w 661990"/>
              <a:gd name="connsiteY57" fmla="*/ 494707 h 742371"/>
              <a:gd name="connsiteX58" fmla="*/ 661990 w 661990"/>
              <a:gd name="connsiteY58" fmla="*/ 504834 h 742371"/>
              <a:gd name="connsiteX59" fmla="*/ 661990 w 661990"/>
              <a:gd name="connsiteY59" fmla="*/ 504958 h 742371"/>
              <a:gd name="connsiteX60" fmla="*/ 661990 w 661990"/>
              <a:gd name="connsiteY60" fmla="*/ 512039 h 742371"/>
              <a:gd name="connsiteX61" fmla="*/ 661990 w 661990"/>
              <a:gd name="connsiteY61" fmla="*/ 515228 h 742371"/>
              <a:gd name="connsiteX62" fmla="*/ 661990 w 661990"/>
              <a:gd name="connsiteY62" fmla="*/ 518106 h 742371"/>
              <a:gd name="connsiteX63" fmla="*/ 661990 w 661990"/>
              <a:gd name="connsiteY63" fmla="*/ 527947 h 742371"/>
              <a:gd name="connsiteX64" fmla="*/ 661990 w 661990"/>
              <a:gd name="connsiteY64" fmla="*/ 528046 h 742371"/>
              <a:gd name="connsiteX65" fmla="*/ 661990 w 661990"/>
              <a:gd name="connsiteY65" fmla="*/ 528499 h 742371"/>
              <a:gd name="connsiteX66" fmla="*/ 661990 w 661990"/>
              <a:gd name="connsiteY66" fmla="*/ 532231 h 742371"/>
              <a:gd name="connsiteX67" fmla="*/ 661990 w 661990"/>
              <a:gd name="connsiteY67" fmla="*/ 538297 h 742371"/>
              <a:gd name="connsiteX68" fmla="*/ 661990 w 661990"/>
              <a:gd name="connsiteY68" fmla="*/ 538340 h 742371"/>
              <a:gd name="connsiteX69" fmla="*/ 661990 w 661990"/>
              <a:gd name="connsiteY69" fmla="*/ 538440 h 742371"/>
              <a:gd name="connsiteX70" fmla="*/ 661990 w 661990"/>
              <a:gd name="connsiteY70" fmla="*/ 548567 h 742371"/>
              <a:gd name="connsiteX71" fmla="*/ 661990 w 661990"/>
              <a:gd name="connsiteY71" fmla="*/ 548691 h 742371"/>
              <a:gd name="connsiteX72" fmla="*/ 661990 w 661990"/>
              <a:gd name="connsiteY72" fmla="*/ 555772 h 742371"/>
              <a:gd name="connsiteX73" fmla="*/ 661990 w 661990"/>
              <a:gd name="connsiteY73" fmla="*/ 561839 h 742371"/>
              <a:gd name="connsiteX74" fmla="*/ 661990 w 661990"/>
              <a:gd name="connsiteY74" fmla="*/ 571680 h 742371"/>
              <a:gd name="connsiteX75" fmla="*/ 661990 w 661990"/>
              <a:gd name="connsiteY75" fmla="*/ 571779 h 742371"/>
              <a:gd name="connsiteX76" fmla="*/ 661990 w 661990"/>
              <a:gd name="connsiteY76" fmla="*/ 575964 h 742371"/>
              <a:gd name="connsiteX77" fmla="*/ 661990 w 661990"/>
              <a:gd name="connsiteY77" fmla="*/ 582030 h 742371"/>
              <a:gd name="connsiteX78" fmla="*/ 661990 w 661990"/>
              <a:gd name="connsiteY78" fmla="*/ 593733 h 742371"/>
              <a:gd name="connsiteX79" fmla="*/ 661990 w 661990"/>
              <a:gd name="connsiteY79" fmla="*/ 607004 h 742371"/>
              <a:gd name="connsiteX80" fmla="*/ 661990 w 661990"/>
              <a:gd name="connsiteY80" fmla="*/ 616845 h 742371"/>
              <a:gd name="connsiteX81" fmla="*/ 661990 w 661990"/>
              <a:gd name="connsiteY81" fmla="*/ 616945 h 742371"/>
              <a:gd name="connsiteX82" fmla="*/ 661990 w 661990"/>
              <a:gd name="connsiteY82" fmla="*/ 627195 h 742371"/>
              <a:gd name="connsiteX83" fmla="*/ 661990 w 661990"/>
              <a:gd name="connsiteY83" fmla="*/ 637466 h 742371"/>
              <a:gd name="connsiteX84" fmla="*/ 661990 w 661990"/>
              <a:gd name="connsiteY84" fmla="*/ 650737 h 742371"/>
              <a:gd name="connsiteX85" fmla="*/ 661990 w 661990"/>
              <a:gd name="connsiteY85" fmla="*/ 660578 h 742371"/>
              <a:gd name="connsiteX86" fmla="*/ 661990 w 661990"/>
              <a:gd name="connsiteY86" fmla="*/ 660678 h 742371"/>
              <a:gd name="connsiteX87" fmla="*/ 661990 w 661990"/>
              <a:gd name="connsiteY87" fmla="*/ 670928 h 742371"/>
              <a:gd name="connsiteX88" fmla="*/ 0 w 661990"/>
              <a:gd name="connsiteY88" fmla="*/ 742371 h 742371"/>
              <a:gd name="connsiteX89" fmla="*/ 0 w 661990"/>
              <a:gd name="connsiteY89" fmla="*/ 722180 h 742371"/>
              <a:gd name="connsiteX90" fmla="*/ 0 w 661990"/>
              <a:gd name="connsiteY90" fmla="*/ 698638 h 742371"/>
              <a:gd name="connsiteX91" fmla="*/ 0 w 661990"/>
              <a:gd name="connsiteY91" fmla="*/ 678447 h 742371"/>
              <a:gd name="connsiteX92" fmla="*/ 0 w 661990"/>
              <a:gd name="connsiteY92" fmla="*/ 660678 h 742371"/>
              <a:gd name="connsiteX93" fmla="*/ 0 w 661990"/>
              <a:gd name="connsiteY93" fmla="*/ 660578 h 742371"/>
              <a:gd name="connsiteX94" fmla="*/ 0 w 661990"/>
              <a:gd name="connsiteY94" fmla="*/ 653473 h 742371"/>
              <a:gd name="connsiteX95" fmla="*/ 0 w 661990"/>
              <a:gd name="connsiteY95" fmla="*/ 633282 h 742371"/>
              <a:gd name="connsiteX96" fmla="*/ 0 w 661990"/>
              <a:gd name="connsiteY96" fmla="*/ 620133 h 742371"/>
              <a:gd name="connsiteX97" fmla="*/ 0 w 661990"/>
              <a:gd name="connsiteY97" fmla="*/ 616945 h 742371"/>
              <a:gd name="connsiteX98" fmla="*/ 0 w 661990"/>
              <a:gd name="connsiteY98" fmla="*/ 616845 h 742371"/>
              <a:gd name="connsiteX99" fmla="*/ 0 w 661990"/>
              <a:gd name="connsiteY99" fmla="*/ 609740 h 742371"/>
              <a:gd name="connsiteX100" fmla="*/ 0 w 661990"/>
              <a:gd name="connsiteY100" fmla="*/ 599943 h 742371"/>
              <a:gd name="connsiteX101" fmla="*/ 0 w 661990"/>
              <a:gd name="connsiteY101" fmla="*/ 589549 h 742371"/>
              <a:gd name="connsiteX102" fmla="*/ 0 w 661990"/>
              <a:gd name="connsiteY102" fmla="*/ 576400 h 742371"/>
              <a:gd name="connsiteX103" fmla="*/ 0 w 661990"/>
              <a:gd name="connsiteY103" fmla="*/ 571779 h 742371"/>
              <a:gd name="connsiteX104" fmla="*/ 0 w 661990"/>
              <a:gd name="connsiteY104" fmla="*/ 571680 h 742371"/>
              <a:gd name="connsiteX105" fmla="*/ 0 w 661990"/>
              <a:gd name="connsiteY105" fmla="*/ 556210 h 742371"/>
              <a:gd name="connsiteX106" fmla="*/ 0 w 661990"/>
              <a:gd name="connsiteY106" fmla="*/ 538440 h 742371"/>
              <a:gd name="connsiteX107" fmla="*/ 0 w 661990"/>
              <a:gd name="connsiteY107" fmla="*/ 538340 h 742371"/>
              <a:gd name="connsiteX108" fmla="*/ 0 w 661990"/>
              <a:gd name="connsiteY108" fmla="*/ 531235 h 742371"/>
              <a:gd name="connsiteX109" fmla="*/ 0 w 661990"/>
              <a:gd name="connsiteY109" fmla="*/ 528046 h 742371"/>
              <a:gd name="connsiteX110" fmla="*/ 0 w 661990"/>
              <a:gd name="connsiteY110" fmla="*/ 527947 h 742371"/>
              <a:gd name="connsiteX111" fmla="*/ 0 w 661990"/>
              <a:gd name="connsiteY111" fmla="*/ 511044 h 742371"/>
              <a:gd name="connsiteX112" fmla="*/ 0 w 661990"/>
              <a:gd name="connsiteY112" fmla="*/ 494707 h 742371"/>
              <a:gd name="connsiteX113" fmla="*/ 0 w 661990"/>
              <a:gd name="connsiteY113" fmla="*/ 494607 h 742371"/>
              <a:gd name="connsiteX114" fmla="*/ 0 w 661990"/>
              <a:gd name="connsiteY114" fmla="*/ 487502 h 742371"/>
              <a:gd name="connsiteX115" fmla="*/ 0 w 661990"/>
              <a:gd name="connsiteY115" fmla="*/ 467311 h 742371"/>
              <a:gd name="connsiteX116" fmla="*/ 0 w 661990"/>
              <a:gd name="connsiteY116" fmla="*/ 449542 h 742371"/>
              <a:gd name="connsiteX117" fmla="*/ 0 w 661990"/>
              <a:gd name="connsiteY117" fmla="*/ 449442 h 742371"/>
              <a:gd name="connsiteX118" fmla="*/ 0 w 661990"/>
              <a:gd name="connsiteY118" fmla="*/ 405809 h 742371"/>
              <a:gd name="connsiteX119" fmla="*/ 0 w 661990"/>
              <a:gd name="connsiteY119" fmla="*/ 405709 h 742371"/>
              <a:gd name="connsiteX120" fmla="*/ 0 w 661990"/>
              <a:gd name="connsiteY120" fmla="*/ 342567 h 742371"/>
              <a:gd name="connsiteX121" fmla="*/ 0 w 661990"/>
              <a:gd name="connsiteY121" fmla="*/ 337223 h 742371"/>
              <a:gd name="connsiteX122" fmla="*/ 0 w 661990"/>
              <a:gd name="connsiteY122" fmla="*/ 317033 h 742371"/>
              <a:gd name="connsiteX123" fmla="*/ 0 w 661990"/>
              <a:gd name="connsiteY123" fmla="*/ 298834 h 742371"/>
              <a:gd name="connsiteX124" fmla="*/ 0 w 661990"/>
              <a:gd name="connsiteY124" fmla="*/ 293490 h 742371"/>
              <a:gd name="connsiteX125" fmla="*/ 0 w 661990"/>
              <a:gd name="connsiteY125" fmla="*/ 273300 h 742371"/>
              <a:gd name="connsiteX126" fmla="*/ 0 w 661990"/>
              <a:gd name="connsiteY126" fmla="*/ 253669 h 742371"/>
              <a:gd name="connsiteX127" fmla="*/ 0 w 661990"/>
              <a:gd name="connsiteY127" fmla="*/ 248325 h 742371"/>
              <a:gd name="connsiteX128" fmla="*/ 0 w 661990"/>
              <a:gd name="connsiteY128" fmla="*/ 228134 h 742371"/>
              <a:gd name="connsiteX129" fmla="*/ 0 w 661990"/>
              <a:gd name="connsiteY129" fmla="*/ 220329 h 742371"/>
              <a:gd name="connsiteX130" fmla="*/ 0 w 661990"/>
              <a:gd name="connsiteY130" fmla="*/ 214986 h 742371"/>
              <a:gd name="connsiteX131" fmla="*/ 0 w 661990"/>
              <a:gd name="connsiteY131" fmla="*/ 209936 h 742371"/>
              <a:gd name="connsiteX132" fmla="*/ 0 w 661990"/>
              <a:gd name="connsiteY132" fmla="*/ 204592 h 742371"/>
              <a:gd name="connsiteX133" fmla="*/ 0 w 661990"/>
              <a:gd name="connsiteY133" fmla="*/ 194795 h 742371"/>
              <a:gd name="connsiteX134" fmla="*/ 0 w 661990"/>
              <a:gd name="connsiteY134" fmla="*/ 184401 h 742371"/>
              <a:gd name="connsiteX135" fmla="*/ 0 w 661990"/>
              <a:gd name="connsiteY135" fmla="*/ 176596 h 742371"/>
              <a:gd name="connsiteX136" fmla="*/ 0 w 661990"/>
              <a:gd name="connsiteY136" fmla="*/ 171253 h 742371"/>
              <a:gd name="connsiteX137" fmla="*/ 0 w 661990"/>
              <a:gd name="connsiteY137" fmla="*/ 151062 h 742371"/>
              <a:gd name="connsiteX138" fmla="*/ 0 w 661990"/>
              <a:gd name="connsiteY138" fmla="*/ 131431 h 742371"/>
              <a:gd name="connsiteX139" fmla="*/ 0 w 661990"/>
              <a:gd name="connsiteY139" fmla="*/ 126087 h 742371"/>
              <a:gd name="connsiteX140" fmla="*/ 0 w 661990"/>
              <a:gd name="connsiteY140" fmla="*/ 105897 h 742371"/>
              <a:gd name="connsiteX141" fmla="*/ 0 w 661990"/>
              <a:gd name="connsiteY141" fmla="*/ 87698 h 742371"/>
              <a:gd name="connsiteX142" fmla="*/ 0 w 661990"/>
              <a:gd name="connsiteY142" fmla="*/ 82354 h 742371"/>
              <a:gd name="connsiteX143" fmla="*/ 0 w 661990"/>
              <a:gd name="connsiteY143" fmla="*/ 71443 h 742371"/>
              <a:gd name="connsiteX144" fmla="*/ 661990 w 661990"/>
              <a:gd name="connsiteY144" fmla="*/ 0 h 742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661990" h="742371">
                <a:moveTo>
                  <a:pt x="661990" y="0"/>
                </a:moveTo>
                <a:lnTo>
                  <a:pt x="661990" y="10912"/>
                </a:lnTo>
                <a:lnTo>
                  <a:pt x="661990" y="34453"/>
                </a:lnTo>
                <a:lnTo>
                  <a:pt x="661990" y="54645"/>
                </a:lnTo>
                <a:lnTo>
                  <a:pt x="661990" y="79618"/>
                </a:lnTo>
                <a:lnTo>
                  <a:pt x="661990" y="87698"/>
                </a:lnTo>
                <a:lnTo>
                  <a:pt x="661990" y="95625"/>
                </a:lnTo>
                <a:lnTo>
                  <a:pt x="661990" y="99810"/>
                </a:lnTo>
                <a:lnTo>
                  <a:pt x="661990" y="112958"/>
                </a:lnTo>
                <a:lnTo>
                  <a:pt x="661990" y="123351"/>
                </a:lnTo>
                <a:lnTo>
                  <a:pt x="661990" y="131431"/>
                </a:lnTo>
                <a:lnTo>
                  <a:pt x="661990" y="133149"/>
                </a:lnTo>
                <a:lnTo>
                  <a:pt x="661990" y="139358"/>
                </a:lnTo>
                <a:lnTo>
                  <a:pt x="661990" y="143543"/>
                </a:lnTo>
                <a:lnTo>
                  <a:pt x="661990" y="156691"/>
                </a:lnTo>
                <a:lnTo>
                  <a:pt x="661990" y="176596"/>
                </a:lnTo>
                <a:lnTo>
                  <a:pt x="661990" y="176882"/>
                </a:lnTo>
                <a:lnTo>
                  <a:pt x="661990" y="184524"/>
                </a:lnTo>
                <a:lnTo>
                  <a:pt x="661990" y="201856"/>
                </a:lnTo>
                <a:lnTo>
                  <a:pt x="661990" y="209936"/>
                </a:lnTo>
                <a:lnTo>
                  <a:pt x="661990" y="217863"/>
                </a:lnTo>
                <a:lnTo>
                  <a:pt x="661990" y="220329"/>
                </a:lnTo>
                <a:lnTo>
                  <a:pt x="661990" y="222048"/>
                </a:lnTo>
                <a:lnTo>
                  <a:pt x="661990" y="228257"/>
                </a:lnTo>
                <a:lnTo>
                  <a:pt x="661990" y="245589"/>
                </a:lnTo>
                <a:lnTo>
                  <a:pt x="661990" y="253669"/>
                </a:lnTo>
                <a:lnTo>
                  <a:pt x="661990" y="261596"/>
                </a:lnTo>
                <a:lnTo>
                  <a:pt x="661990" y="265781"/>
                </a:lnTo>
                <a:lnTo>
                  <a:pt x="661990" y="298834"/>
                </a:lnTo>
                <a:lnTo>
                  <a:pt x="661990" y="300903"/>
                </a:lnTo>
                <a:lnTo>
                  <a:pt x="661990" y="306761"/>
                </a:lnTo>
                <a:lnTo>
                  <a:pt x="661990" y="321095"/>
                </a:lnTo>
                <a:lnTo>
                  <a:pt x="661990" y="342567"/>
                </a:lnTo>
                <a:lnTo>
                  <a:pt x="661990" y="344636"/>
                </a:lnTo>
                <a:lnTo>
                  <a:pt x="661990" y="350494"/>
                </a:lnTo>
                <a:lnTo>
                  <a:pt x="661990" y="364828"/>
                </a:lnTo>
                <a:lnTo>
                  <a:pt x="661990" y="382597"/>
                </a:lnTo>
                <a:lnTo>
                  <a:pt x="661990" y="389802"/>
                </a:lnTo>
                <a:lnTo>
                  <a:pt x="661990" y="395868"/>
                </a:lnTo>
                <a:lnTo>
                  <a:pt x="661990" y="405709"/>
                </a:lnTo>
                <a:lnTo>
                  <a:pt x="661990" y="405809"/>
                </a:lnTo>
                <a:lnTo>
                  <a:pt x="661990" y="409993"/>
                </a:lnTo>
                <a:lnTo>
                  <a:pt x="661990" y="416059"/>
                </a:lnTo>
                <a:lnTo>
                  <a:pt x="661990" y="423141"/>
                </a:lnTo>
                <a:lnTo>
                  <a:pt x="661990" y="426330"/>
                </a:lnTo>
                <a:lnTo>
                  <a:pt x="661990" y="433535"/>
                </a:lnTo>
                <a:lnTo>
                  <a:pt x="661990" y="439601"/>
                </a:lnTo>
                <a:lnTo>
                  <a:pt x="661990" y="443333"/>
                </a:lnTo>
                <a:lnTo>
                  <a:pt x="661990" y="449442"/>
                </a:lnTo>
                <a:lnTo>
                  <a:pt x="661990" y="449542"/>
                </a:lnTo>
                <a:lnTo>
                  <a:pt x="661990" y="453726"/>
                </a:lnTo>
                <a:lnTo>
                  <a:pt x="661990" y="459792"/>
                </a:lnTo>
                <a:lnTo>
                  <a:pt x="661990" y="466874"/>
                </a:lnTo>
                <a:lnTo>
                  <a:pt x="661990" y="471495"/>
                </a:lnTo>
                <a:lnTo>
                  <a:pt x="661990" y="484766"/>
                </a:lnTo>
                <a:lnTo>
                  <a:pt x="661990" y="487066"/>
                </a:lnTo>
                <a:lnTo>
                  <a:pt x="661990" y="494607"/>
                </a:lnTo>
                <a:lnTo>
                  <a:pt x="661990" y="494707"/>
                </a:lnTo>
                <a:lnTo>
                  <a:pt x="661990" y="504834"/>
                </a:lnTo>
                <a:lnTo>
                  <a:pt x="661990" y="504958"/>
                </a:lnTo>
                <a:lnTo>
                  <a:pt x="661990" y="512039"/>
                </a:lnTo>
                <a:lnTo>
                  <a:pt x="661990" y="515228"/>
                </a:lnTo>
                <a:lnTo>
                  <a:pt x="661990" y="518106"/>
                </a:lnTo>
                <a:lnTo>
                  <a:pt x="661990" y="527947"/>
                </a:lnTo>
                <a:lnTo>
                  <a:pt x="661990" y="528046"/>
                </a:lnTo>
                <a:lnTo>
                  <a:pt x="661990" y="528499"/>
                </a:lnTo>
                <a:lnTo>
                  <a:pt x="661990" y="532231"/>
                </a:lnTo>
                <a:lnTo>
                  <a:pt x="661990" y="538297"/>
                </a:lnTo>
                <a:lnTo>
                  <a:pt x="661990" y="538340"/>
                </a:lnTo>
                <a:lnTo>
                  <a:pt x="661990" y="538440"/>
                </a:lnTo>
                <a:lnTo>
                  <a:pt x="661990" y="548567"/>
                </a:lnTo>
                <a:lnTo>
                  <a:pt x="661990" y="548691"/>
                </a:lnTo>
                <a:lnTo>
                  <a:pt x="661990" y="555772"/>
                </a:lnTo>
                <a:lnTo>
                  <a:pt x="661990" y="561839"/>
                </a:lnTo>
                <a:lnTo>
                  <a:pt x="661990" y="571680"/>
                </a:lnTo>
                <a:lnTo>
                  <a:pt x="661990" y="571779"/>
                </a:lnTo>
                <a:lnTo>
                  <a:pt x="661990" y="575964"/>
                </a:lnTo>
                <a:lnTo>
                  <a:pt x="661990" y="582030"/>
                </a:lnTo>
                <a:lnTo>
                  <a:pt x="661990" y="593733"/>
                </a:lnTo>
                <a:lnTo>
                  <a:pt x="661990" y="607004"/>
                </a:lnTo>
                <a:lnTo>
                  <a:pt x="661990" y="616845"/>
                </a:lnTo>
                <a:lnTo>
                  <a:pt x="661990" y="616945"/>
                </a:lnTo>
                <a:lnTo>
                  <a:pt x="661990" y="627195"/>
                </a:lnTo>
                <a:lnTo>
                  <a:pt x="661990" y="637466"/>
                </a:lnTo>
                <a:lnTo>
                  <a:pt x="661990" y="650737"/>
                </a:lnTo>
                <a:lnTo>
                  <a:pt x="661990" y="660578"/>
                </a:lnTo>
                <a:lnTo>
                  <a:pt x="661990" y="660678"/>
                </a:lnTo>
                <a:lnTo>
                  <a:pt x="661990" y="670928"/>
                </a:lnTo>
                <a:lnTo>
                  <a:pt x="0" y="742371"/>
                </a:lnTo>
                <a:lnTo>
                  <a:pt x="0" y="722180"/>
                </a:lnTo>
                <a:lnTo>
                  <a:pt x="0" y="698638"/>
                </a:lnTo>
                <a:lnTo>
                  <a:pt x="0" y="678447"/>
                </a:lnTo>
                <a:lnTo>
                  <a:pt x="0" y="660678"/>
                </a:lnTo>
                <a:lnTo>
                  <a:pt x="0" y="660578"/>
                </a:lnTo>
                <a:lnTo>
                  <a:pt x="0" y="653473"/>
                </a:lnTo>
                <a:lnTo>
                  <a:pt x="0" y="633282"/>
                </a:lnTo>
                <a:lnTo>
                  <a:pt x="0" y="620133"/>
                </a:lnTo>
                <a:lnTo>
                  <a:pt x="0" y="616945"/>
                </a:lnTo>
                <a:lnTo>
                  <a:pt x="0" y="616845"/>
                </a:lnTo>
                <a:lnTo>
                  <a:pt x="0" y="609740"/>
                </a:lnTo>
                <a:lnTo>
                  <a:pt x="0" y="599943"/>
                </a:lnTo>
                <a:lnTo>
                  <a:pt x="0" y="589549"/>
                </a:lnTo>
                <a:lnTo>
                  <a:pt x="0" y="576400"/>
                </a:lnTo>
                <a:lnTo>
                  <a:pt x="0" y="571779"/>
                </a:lnTo>
                <a:lnTo>
                  <a:pt x="0" y="571680"/>
                </a:lnTo>
                <a:lnTo>
                  <a:pt x="0" y="556210"/>
                </a:lnTo>
                <a:lnTo>
                  <a:pt x="0" y="538440"/>
                </a:lnTo>
                <a:lnTo>
                  <a:pt x="0" y="538340"/>
                </a:lnTo>
                <a:lnTo>
                  <a:pt x="0" y="531235"/>
                </a:lnTo>
                <a:lnTo>
                  <a:pt x="0" y="528046"/>
                </a:lnTo>
                <a:lnTo>
                  <a:pt x="0" y="527947"/>
                </a:lnTo>
                <a:lnTo>
                  <a:pt x="0" y="511044"/>
                </a:lnTo>
                <a:lnTo>
                  <a:pt x="0" y="494707"/>
                </a:lnTo>
                <a:lnTo>
                  <a:pt x="0" y="494607"/>
                </a:lnTo>
                <a:lnTo>
                  <a:pt x="0" y="487502"/>
                </a:lnTo>
                <a:lnTo>
                  <a:pt x="0" y="467311"/>
                </a:lnTo>
                <a:lnTo>
                  <a:pt x="0" y="449542"/>
                </a:lnTo>
                <a:lnTo>
                  <a:pt x="0" y="449442"/>
                </a:lnTo>
                <a:lnTo>
                  <a:pt x="0" y="405809"/>
                </a:lnTo>
                <a:lnTo>
                  <a:pt x="0" y="405709"/>
                </a:lnTo>
                <a:lnTo>
                  <a:pt x="0" y="342567"/>
                </a:lnTo>
                <a:lnTo>
                  <a:pt x="0" y="337223"/>
                </a:lnTo>
                <a:lnTo>
                  <a:pt x="0" y="317033"/>
                </a:lnTo>
                <a:lnTo>
                  <a:pt x="0" y="298834"/>
                </a:lnTo>
                <a:lnTo>
                  <a:pt x="0" y="293490"/>
                </a:lnTo>
                <a:lnTo>
                  <a:pt x="0" y="273300"/>
                </a:lnTo>
                <a:lnTo>
                  <a:pt x="0" y="253669"/>
                </a:lnTo>
                <a:lnTo>
                  <a:pt x="0" y="248325"/>
                </a:lnTo>
                <a:lnTo>
                  <a:pt x="0" y="228134"/>
                </a:lnTo>
                <a:lnTo>
                  <a:pt x="0" y="220329"/>
                </a:lnTo>
                <a:lnTo>
                  <a:pt x="0" y="214986"/>
                </a:lnTo>
                <a:lnTo>
                  <a:pt x="0" y="209936"/>
                </a:lnTo>
                <a:lnTo>
                  <a:pt x="0" y="204592"/>
                </a:lnTo>
                <a:lnTo>
                  <a:pt x="0" y="194795"/>
                </a:lnTo>
                <a:lnTo>
                  <a:pt x="0" y="184401"/>
                </a:lnTo>
                <a:lnTo>
                  <a:pt x="0" y="176596"/>
                </a:lnTo>
                <a:lnTo>
                  <a:pt x="0" y="171253"/>
                </a:lnTo>
                <a:lnTo>
                  <a:pt x="0" y="151062"/>
                </a:lnTo>
                <a:lnTo>
                  <a:pt x="0" y="131431"/>
                </a:lnTo>
                <a:lnTo>
                  <a:pt x="0" y="126087"/>
                </a:lnTo>
                <a:lnTo>
                  <a:pt x="0" y="105897"/>
                </a:lnTo>
                <a:lnTo>
                  <a:pt x="0" y="87698"/>
                </a:lnTo>
                <a:lnTo>
                  <a:pt x="0" y="82354"/>
                </a:lnTo>
                <a:lnTo>
                  <a:pt x="0" y="71443"/>
                </a:lnTo>
                <a:lnTo>
                  <a:pt x="661990" y="0"/>
                </a:lnTo>
                <a:close/>
              </a:path>
            </a:pathLst>
          </a:custGeom>
          <a:solidFill>
            <a:srgbClr val="FFC000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4" name="Rectangle 171">
            <a:extLst>
              <a:ext uri="{FF2B5EF4-FFF2-40B4-BE49-F238E27FC236}">
                <a16:creationId xmlns:a16="http://schemas.microsoft.com/office/drawing/2014/main" id="{E19E0240-8EAC-A44F-A087-6B49B1CD6C79}"/>
              </a:ext>
            </a:extLst>
          </p:cNvPr>
          <p:cNvSpPr/>
          <p:nvPr/>
        </p:nvSpPr>
        <p:spPr>
          <a:xfrm>
            <a:off x="7997969" y="1446092"/>
            <a:ext cx="3427269" cy="4524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Pct val="100000"/>
              <a:defRPr/>
            </a:pPr>
            <a:r>
              <a:rPr lang="de-DE" sz="1300" dirty="0">
                <a:solidFill>
                  <a:schemeClr val="bg1"/>
                </a:solidFill>
                <a:latin typeface="Arial" panose="020B0604020202020204" pitchFamily="34" charset="0"/>
              </a:rPr>
              <a:t>Live Ansicht der Maschinenposition und Maschinendaten</a:t>
            </a:r>
          </a:p>
        </p:txBody>
      </p:sp>
    </p:spTree>
    <p:extLst>
      <p:ext uri="{BB962C8B-B14F-4D97-AF65-F5344CB8AC3E}">
        <p14:creationId xmlns:p14="http://schemas.microsoft.com/office/powerpoint/2010/main" val="40154014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SSZEILE" val="Generalverwaltung 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kHTJfUrRuYn7q_SxfL4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kbqoQVi9bcLefJPOM1N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fbhpXQ_M0DOhh5xW9Gz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0LpXoumvuURVZymWQRe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6jtU7nt0fRovSxeWgQq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kHTJfUrRuYn7q_SxfL4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kbqoQVi9bcLefJPOM1N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fbhpXQ_M0DOhh5xW9Gz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0LpXoumvuURVZymWQRe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6jtU7nt0fRovSxeWgQq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kHTJfUrRuYn7q_SxfL4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kbqoQVi9bcLefJPOM1N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fbhpXQ_M0DOhh5xW9Gz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0LpXoumvuURVZymWQRe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6jtU7nt0fRovSxeWgQq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XT Farming 2020">
  <a:themeElements>
    <a:clrScheme name="Benutzerdefiniert 93">
      <a:dk1>
        <a:srgbClr val="000000"/>
      </a:dk1>
      <a:lt1>
        <a:srgbClr val="FFFFFF"/>
      </a:lt1>
      <a:dk2>
        <a:srgbClr val="44A12C"/>
      </a:dk2>
      <a:lt2>
        <a:srgbClr val="F2F2F2"/>
      </a:lt2>
      <a:accent1>
        <a:srgbClr val="44A12C"/>
      </a:accent1>
      <a:accent2>
        <a:srgbClr val="74B56E"/>
      </a:accent2>
      <a:accent3>
        <a:srgbClr val="A9CB61"/>
      </a:accent3>
      <a:accent4>
        <a:srgbClr val="B3E0CB"/>
      </a:accent4>
      <a:accent5>
        <a:srgbClr val="CDDC00"/>
      </a:accent5>
      <a:accent6>
        <a:srgbClr val="369A48"/>
      </a:accent6>
      <a:hlink>
        <a:srgbClr val="000000"/>
      </a:hlink>
      <a:folHlink>
        <a:srgbClr val="000000"/>
      </a:folHlink>
    </a:clrScheme>
    <a:fontScheme name="NEXT Farmin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 w="6350">
          <a:noFill/>
        </a:ln>
      </a:spPr>
      <a:bodyPr lIns="72000" tIns="72000" rIns="72000" bIns="72000" rtlCol="0" anchor="t"/>
      <a:lstStyle>
        <a:defPPr algn="l">
          <a:spcAft>
            <a:spcPts val="1200"/>
          </a:spcAft>
          <a:defRPr sz="1400" kern="600" spc="0" baseline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355600" indent="-355600" algn="l">
          <a:spcAft>
            <a:spcPts val="1200"/>
          </a:spcAft>
          <a:buClr>
            <a:schemeClr val="tx2"/>
          </a:buClr>
          <a:buFont typeface="Arial" panose="020B0604020202020204" pitchFamily="34" charset="0"/>
          <a:buChar char="&gt;"/>
          <a:defRPr sz="1400" kern="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v10EK_20201215_NEXT iBlankomaster" id="{0F6D86C9-80BC-034F-883C-43AA2FDCA5CA}" vid="{D597EA1F-4E47-A649-8367-2B290744CFCF}"/>
    </a:ext>
  </a:extLst>
</a:theme>
</file>

<file path=ppt/theme/theme2.xml><?xml version="1.0" encoding="utf-8"?>
<a:theme xmlns:a="http://schemas.openxmlformats.org/drawingml/2006/main" name="1_NEXT Farming 2020">
  <a:themeElements>
    <a:clrScheme name="Benutzerdefiniert 93">
      <a:dk1>
        <a:srgbClr val="000000"/>
      </a:dk1>
      <a:lt1>
        <a:srgbClr val="FFFFFF"/>
      </a:lt1>
      <a:dk2>
        <a:srgbClr val="44A12C"/>
      </a:dk2>
      <a:lt2>
        <a:srgbClr val="F2F2F2"/>
      </a:lt2>
      <a:accent1>
        <a:srgbClr val="44A12C"/>
      </a:accent1>
      <a:accent2>
        <a:srgbClr val="74B56E"/>
      </a:accent2>
      <a:accent3>
        <a:srgbClr val="A9CB61"/>
      </a:accent3>
      <a:accent4>
        <a:srgbClr val="B3E0CB"/>
      </a:accent4>
      <a:accent5>
        <a:srgbClr val="CDDC00"/>
      </a:accent5>
      <a:accent6>
        <a:srgbClr val="369A48"/>
      </a:accent6>
      <a:hlink>
        <a:srgbClr val="000000"/>
      </a:hlink>
      <a:folHlink>
        <a:srgbClr val="000000"/>
      </a:folHlink>
    </a:clrScheme>
    <a:fontScheme name="NEXT Farmin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 w="6350">
          <a:noFill/>
        </a:ln>
      </a:spPr>
      <a:bodyPr lIns="72000" tIns="72000" rIns="72000" bIns="72000" rtlCol="0" anchor="t"/>
      <a:lstStyle>
        <a:defPPr algn="l">
          <a:spcAft>
            <a:spcPts val="1200"/>
          </a:spcAft>
          <a:defRPr sz="1400" kern="600" spc="0" baseline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355600" indent="-355600" algn="l">
          <a:spcAft>
            <a:spcPts val="1200"/>
          </a:spcAft>
          <a:buClr>
            <a:schemeClr val="tx2"/>
          </a:buClr>
          <a:buFont typeface="Arial" panose="020B0604020202020204" pitchFamily="34" charset="0"/>
          <a:buChar char="&gt;"/>
          <a:defRPr sz="1400" kern="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v10EK_20201215_NEXT KV Sammlung, Toolbox, Icons, Styleguide" id="{274FE3FE-DEF8-487D-897E-F9A7B8CA9303}" vid="{949E7AEA-BA0C-4469-A0F8-1072AF20DAB7}"/>
    </a:ext>
  </a:extLst>
</a:theme>
</file>

<file path=ppt/theme/theme3.xml><?xml version="1.0" encoding="utf-8"?>
<a:theme xmlns:a="http://schemas.openxmlformats.org/drawingml/2006/main" name="2_NEXT Farming 2020">
  <a:themeElements>
    <a:clrScheme name="Benutzerdefiniert 93">
      <a:dk1>
        <a:srgbClr val="000000"/>
      </a:dk1>
      <a:lt1>
        <a:srgbClr val="FFFFFF"/>
      </a:lt1>
      <a:dk2>
        <a:srgbClr val="44A12C"/>
      </a:dk2>
      <a:lt2>
        <a:srgbClr val="F2F2F2"/>
      </a:lt2>
      <a:accent1>
        <a:srgbClr val="44A12C"/>
      </a:accent1>
      <a:accent2>
        <a:srgbClr val="74B56E"/>
      </a:accent2>
      <a:accent3>
        <a:srgbClr val="A9CB61"/>
      </a:accent3>
      <a:accent4>
        <a:srgbClr val="B3E0CB"/>
      </a:accent4>
      <a:accent5>
        <a:srgbClr val="CDDC00"/>
      </a:accent5>
      <a:accent6>
        <a:srgbClr val="369A48"/>
      </a:accent6>
      <a:hlink>
        <a:srgbClr val="000000"/>
      </a:hlink>
      <a:folHlink>
        <a:srgbClr val="000000"/>
      </a:folHlink>
    </a:clrScheme>
    <a:fontScheme name="NEXT Farmin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 w="6350">
          <a:noFill/>
        </a:ln>
      </a:spPr>
      <a:bodyPr lIns="72000" tIns="72000" rIns="72000" bIns="72000" rtlCol="0" anchor="t"/>
      <a:lstStyle>
        <a:defPPr algn="l">
          <a:spcAft>
            <a:spcPts val="1200"/>
          </a:spcAft>
          <a:defRPr sz="1400" kern="600" spc="0" baseline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355600" indent="-355600" algn="l">
          <a:spcAft>
            <a:spcPts val="1200"/>
          </a:spcAft>
          <a:buClr>
            <a:schemeClr val="tx2"/>
          </a:buClr>
          <a:buFont typeface="Arial" panose="020B0604020202020204" pitchFamily="34" charset="0"/>
          <a:buChar char="&gt;"/>
          <a:defRPr sz="1400" kern="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v10EK_20201215_NEXT KV Sammlung, Toolbox, Icons, Styleguide" id="{274FE3FE-DEF8-487D-897E-F9A7B8CA9303}" vid="{949E7AEA-BA0C-4469-A0F8-1072AF20DAB7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omaster</Template>
  <TotalTime>0</TotalTime>
  <Words>350</Words>
  <Application>Microsoft Office PowerPoint</Application>
  <PresentationFormat>Breitbild</PresentationFormat>
  <Paragraphs>70</Paragraphs>
  <Slides>10</Slides>
  <Notes>3</Notes>
  <HiddenSlides>0</HiddenSlides>
  <MMClips>1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8" baseType="lpstr">
      <vt:lpstr>Arial</vt:lpstr>
      <vt:lpstr>Arial Regular</vt:lpstr>
      <vt:lpstr>Calibri</vt:lpstr>
      <vt:lpstr>Permanent Marker</vt:lpstr>
      <vt:lpstr>NEXT Farming 2020</vt:lpstr>
      <vt:lpstr>1_NEXT Farming 2020</vt:lpstr>
      <vt:lpstr>2_NEXT Farming 2020</vt:lpstr>
      <vt:lpstr>think-cell Folie</vt:lpstr>
      <vt:lpstr>Datenanbindung via </vt:lpstr>
      <vt:lpstr>Voraussetzungen</vt:lpstr>
      <vt:lpstr>Einrichtung Pro</vt:lpstr>
      <vt:lpstr>Einrichtung Live</vt:lpstr>
      <vt:lpstr>Video Anleitung</vt:lpstr>
      <vt:lpstr>Daten in Pro importieren</vt:lpstr>
      <vt:lpstr>Daten in Pro exportieren</vt:lpstr>
      <vt:lpstr>NMM - Schnellreport</vt:lpstr>
      <vt:lpstr>NMM – Live Ansicht</vt:lpstr>
      <vt:lpstr>End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FarmFacts</dc:creator>
  <cp:keywords/>
  <dc:description/>
  <cp:lastModifiedBy>Wagenhuber Johannes</cp:lastModifiedBy>
  <cp:revision>112</cp:revision>
  <dcterms:created xsi:type="dcterms:W3CDTF">2021-03-24T15:54:52Z</dcterms:created>
  <dcterms:modified xsi:type="dcterms:W3CDTF">2023-01-23T15:56:07Z</dcterms:modified>
  <cp:category/>
</cp:coreProperties>
</file>